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</p:sldMasterIdLst>
  <p:notesMasterIdLst>
    <p:notesMasterId r:id="rId5"/>
  </p:notesMasterIdLst>
  <p:handoutMasterIdLst>
    <p:handoutMasterId r:id="rId6"/>
  </p:handoutMasterIdLst>
  <p:sldIdLst>
    <p:sldId id="260" r:id="rId2"/>
    <p:sldId id="258" r:id="rId3"/>
    <p:sldId id="259" r:id="rId4"/>
  </p:sldIdLst>
  <p:sldSz cx="9906000" cy="6858000" type="A4"/>
  <p:notesSz cx="6807200" cy="9939338"/>
  <p:custDataLst>
    <p:tags r:id="rId7"/>
  </p:custDataLst>
  <p:defaultTextStyle>
    <a:defPPr>
      <a:defRPr lang="en-US"/>
    </a:defPPr>
    <a:lvl1pPr marL="0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4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9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23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7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72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46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21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95" algn="l" defTabSz="9143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7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2">
          <p15:clr>
            <a:srgbClr val="A4A3A4"/>
          </p15:clr>
        </p15:guide>
        <p15:guide id="7" orient="horz" pos="3748">
          <p15:clr>
            <a:srgbClr val="A4A3A4"/>
          </p15:clr>
        </p15:guide>
        <p15:guide id="8" pos="3120">
          <p15:clr>
            <a:srgbClr val="A4A3A4"/>
          </p15:clr>
        </p15:guide>
        <p15:guide id="9" pos="341">
          <p15:clr>
            <a:srgbClr val="A4A3A4"/>
          </p15:clr>
        </p15:guide>
        <p15:guide id="10" pos="59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40"/>
    <a:srgbClr val="EDEDE8"/>
    <a:srgbClr val="E9E9E4"/>
    <a:srgbClr val="DCDCD7"/>
    <a:srgbClr val="E6E6E1"/>
    <a:srgbClr val="E1E1DC"/>
    <a:srgbClr val="E1E1D7"/>
    <a:srgbClr val="8DC441"/>
    <a:srgbClr val="2C71B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04" autoAdjust="0"/>
  </p:normalViewPr>
  <p:slideViewPr>
    <p:cSldViewPr>
      <p:cViewPr varScale="1">
        <p:scale>
          <a:sx n="67" d="100"/>
          <a:sy n="67" d="100"/>
        </p:scale>
        <p:origin x="1104" y="44"/>
      </p:cViewPr>
      <p:guideLst>
        <p:guide orient="horz" pos="2115"/>
        <p:guide orient="horz" pos="709"/>
        <p:guide orient="horz" pos="3977"/>
        <p:guide orient="horz" pos="754"/>
        <p:guide orient="horz" pos="160"/>
        <p:guide orient="horz" pos="3702"/>
        <p:guide orient="horz" pos="3748"/>
        <p:guide pos="3120"/>
        <p:guide pos="341"/>
        <p:guide pos="59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0" d="100"/>
          <a:sy n="130" d="100"/>
        </p:scale>
        <p:origin x="-4818" y="-90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1/07/2019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1/07/2019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4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9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23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97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72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46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21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95" algn="l" defTabSz="9143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ange">
    <p:bg>
      <p:bgPr>
        <a:blipFill dpi="0" rotWithShape="1">
          <a:blip r:embed="rId2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FC22A2F8-3A1E-4CD4-BA1A-ABAD786D16B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r="15849"/>
          <a:stretch/>
        </p:blipFill>
        <p:spPr bwMode="auto">
          <a:xfrm>
            <a:off x="1568624" y="0"/>
            <a:ext cx="8337376" cy="4557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FC8BE21-2D5E-4234-87EA-8A9B46DE28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3716363"/>
            <a:ext cx="7618023" cy="1080790"/>
          </a:xfrm>
        </p:spPr>
        <p:txBody>
          <a:bodyPr anchor="b" anchorCtr="0"/>
          <a:lstStyle>
            <a:lvl1pPr>
              <a:defRPr sz="32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F1DE1-D8E1-4802-83E3-D2DBFA3CC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941912"/>
            <a:ext cx="7618023" cy="503312"/>
          </a:xfrm>
        </p:spPr>
        <p:txBody>
          <a:bodyPr/>
          <a:lstStyle>
            <a:lvl1pPr>
              <a:spcBef>
                <a:spcPts val="1200"/>
              </a:spcBef>
              <a:defRPr sz="1600" baseline="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B7E5717-4A4B-4326-9DF9-E98E0F676B18}"/>
              </a:ext>
            </a:extLst>
          </p:cNvPr>
          <p:cNvSpPr/>
          <p:nvPr userDrawn="1"/>
        </p:nvSpPr>
        <p:spPr>
          <a:xfrm>
            <a:off x="0" y="5878066"/>
            <a:ext cx="9907200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D92FA0-D373-4DB6-A1C3-7D915E4A55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055" y="6190143"/>
            <a:ext cx="2327552" cy="359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8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43ED33B-85F9-4344-B09D-D52214ED2AF6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6EC9AD-CF61-40A1-9380-29DEA1485652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6998A2C-5284-437F-BD49-B25DB31FF0ED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A00EF9A-2FDC-4FE7-9D35-ECDACCDB341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619999"/>
            <a:ext cx="8820000" cy="406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5310BF7-1CEB-46D9-8178-E0683C925D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FC011B4-DA16-44A6-AD92-68CDEA2F82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035611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blue_no sub_content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4E247F6-39DC-4443-9F8F-E9D7771A7078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3F1DE0C-13EB-4B43-824F-69C3FDCA0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ADC5A96-FA16-4344-93CF-6748E16C13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035175"/>
            <a:ext cx="8820000" cy="36528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1F7953F-536E-416B-932F-2064350E11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41242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blue_no sub_content head_un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4E247F6-39DC-4443-9F8F-E9D7771A7078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3F1DE0C-13EB-4B43-824F-69C3FDCA0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ADC5A96-FA16-4344-93CF-6748E16C13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348880"/>
            <a:ext cx="8820000" cy="33391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1F7953F-536E-416B-932F-2064350E11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0FC6998-779A-4819-946A-CF80F08E51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703" y="1971491"/>
            <a:ext cx="8824912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Unit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3917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D58FAF1-A5AE-4D53-815A-29436A66989D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645E14-7DBF-4F9A-8B70-041A97E687A3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0F7829-9D51-4BE0-B10E-38B5D84479E8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A4684685-02A2-410F-B5F6-C2132B0B93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999" y="1620000"/>
            <a:ext cx="8820000" cy="4068000"/>
          </a:xfrm>
        </p:spPr>
        <p:txBody>
          <a:bodyPr/>
          <a:lstStyle>
            <a:lvl1pPr marL="0" marR="0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>
                <a:solidFill>
                  <a:schemeClr val="bg2"/>
                </a:solidFill>
              </a:defRPr>
            </a:lvl1pPr>
            <a:lvl2pPr marL="180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2pPr>
            <a:lvl3pPr marL="504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3pPr>
            <a:lvl4pPr marL="828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1116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marL="0" marR="0" lvl="0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dit Master text styles</a:t>
            </a:r>
          </a:p>
          <a:p>
            <a:pPr marL="0" marR="0" lvl="1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cond level</a:t>
            </a:r>
          </a:p>
          <a:p>
            <a:pPr marL="0" marR="0" lvl="2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ird level</a:t>
            </a:r>
          </a:p>
          <a:p>
            <a:pPr marL="0" marR="0" lvl="3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urth level</a:t>
            </a:r>
          </a:p>
          <a:p>
            <a:pPr marL="0" marR="0" lvl="4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fth level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264D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B10DD36-A9FA-4550-A4DF-5D95D4B6618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29EEFA4-7E6F-48DF-97A2-34D8CE9B0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922958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grey_no sub_content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40E8DD2-61E7-4298-BBF6-EA71BF66B8F9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4665714-6FB3-428B-BC2F-738C695E2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C6A968A-8FB7-4BCD-A3C1-34A4FE758FA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035175"/>
            <a:ext cx="8820000" cy="36528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5A15482-B93E-45A5-8912-65E4621018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01207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grey_no sub_content head_un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40E8DD2-61E7-4298-BBF6-EA71BF66B8F9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4665714-6FB3-428B-BC2F-738C695E2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C6A968A-8FB7-4BCD-A3C1-34A4FE758FA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348880"/>
            <a:ext cx="8820000" cy="33391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5A15482-B93E-45A5-8912-65E4621018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9BFA92-8023-41A1-B2EB-BD0B589F4A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703" y="1971491"/>
            <a:ext cx="8824912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4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Unit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53855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5AA805-6B6E-4562-AB66-50F0D371B7AB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20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hite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6865706-C52E-413A-AFBD-C0E2C46CEFD4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9B9CA1-6A5A-44E0-8F58-6E803B4B2C0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548681"/>
            <a:ext cx="8820000" cy="51845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AAB955-A79A-49A6-B77A-FD6BFA1A80D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ED58D6-E1EE-4F4A-904B-847F6180F4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062057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2817DC4-518E-4D28-AD63-A7CA142D91C0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2E6FD5D-568D-4BCF-9C8E-D0F089EE33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9999" y="1916113"/>
            <a:ext cx="8820001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947C58-B0D5-4E40-BA17-F8F57F38E9F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717DF69-F086-4C14-A155-1985477E8AB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0000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4577848-236B-4026-A7EC-F8678A89DF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2C34E60-F212-4C60-9B9D-D93BFF5F44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6245537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63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7276F14-2362-4865-8F57-E13425794B3B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40B9C04-22D9-4EBA-AA6F-7C08D80CFD75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8289CD7-5855-42F7-BF7C-32E56B8ACA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44000"/>
            <a:ext cx="8820000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1B8C09-E966-4029-AA9C-9C828E383FA5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4E3C6FE-D022-4817-8D73-8036542DD8E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8EAA1FC5-CDB9-4579-B460-3BB80C87CA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6E526FB-B446-4348-A1DD-9191B5149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827287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267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9B6FE79F-1C7D-4DCA-989A-AE2AD25E26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3" t="41842" r="283" b="17500"/>
          <a:stretch/>
        </p:blipFill>
        <p:spPr>
          <a:xfrm>
            <a:off x="-56456" y="3567933"/>
            <a:ext cx="9962456" cy="2278459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E5351E8-C919-47E1-B013-041C9149922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3" r="55096" b="52571"/>
          <a:stretch/>
        </p:blipFill>
        <p:spPr bwMode="auto">
          <a:xfrm>
            <a:off x="5457056" y="3567933"/>
            <a:ext cx="4448944" cy="2278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9961EEA-5365-49FB-9FE4-221AD1372A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4148411"/>
            <a:ext cx="6825934" cy="1080790"/>
          </a:xfrm>
        </p:spPr>
        <p:txBody>
          <a:bodyPr anchor="ctr" anchorCtr="0"/>
          <a:lstStyle>
            <a:lvl1pPr>
              <a:defRPr sz="2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ection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BC63BE-51CD-4C8A-9B73-603037E8810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4152" y="6408178"/>
            <a:ext cx="1629287" cy="251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3119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279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DE185501-8FD6-4067-8B45-0B237A93720B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A18360A-E6AA-43F8-9E65-67120D2C7D81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57AD100D-263F-4553-BB7F-F2E858C96C6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44000"/>
            <a:ext cx="8820000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14B1ED-F499-4C6F-9D68-54932BBAAB78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6CC6250-0AF2-43BA-A820-105364CFBE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0E91E27-99B9-4A49-9C2A-376E4C03E0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8ADE698-A4CB-43C5-B972-78148670FD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008576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colou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585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ACE211D-B352-481C-832C-C4EC09AE268A}"/>
              </a:ext>
            </a:extLst>
          </p:cNvPr>
          <p:cNvSpPr/>
          <p:nvPr userDrawn="1"/>
        </p:nvSpPr>
        <p:spPr>
          <a:xfrm>
            <a:off x="0" y="3068960"/>
            <a:ext cx="9906000" cy="3231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459505-B99A-481C-ACD3-BF77F355CC9C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A9CBFA5-0FA7-421F-8B45-D287FC527B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772817"/>
            <a:ext cx="8820000" cy="11521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CD496F-4FE9-474D-BF2A-AE3C517F2500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CB4980A4-6E45-4037-A331-E7228F7781C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3356993"/>
            <a:ext cx="8820000" cy="24334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45C4818-D23D-49D0-98FE-32E27AA9C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6D9D0E2-933A-4A53-82DE-E9FFB67657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6FEB9FC-6FBA-467C-9097-442AD3B270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113216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colou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335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1ED91A35-B990-4DBC-93D9-F42490B68879}"/>
              </a:ext>
            </a:extLst>
          </p:cNvPr>
          <p:cNvSpPr/>
          <p:nvPr userDrawn="1"/>
        </p:nvSpPr>
        <p:spPr>
          <a:xfrm>
            <a:off x="0" y="3068960"/>
            <a:ext cx="9906000" cy="3231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24C6ACE-4D4C-4624-A0E8-82C77825F722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113C0E2D-B39B-419A-B1D4-27942EF0E9D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772817"/>
            <a:ext cx="8820000" cy="11521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8FCA6F-1571-42F9-A6AB-53270975960A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4D0CA8E-DEC6-4DE7-9E8E-F6D9B862283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40000" y="3356993"/>
            <a:ext cx="8820000" cy="24334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393CD3A-6CE9-44A6-8218-51426D9B7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39850940-2E33-4E86-AEA5-354BC0B5593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CFC305E-9319-4C36-9B80-2BA8981D55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8270203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AA9BE82-FEA0-48A7-A3E2-4457177457B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13B784D-C3BB-435B-AD73-9DE21D2E80C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44000"/>
            <a:ext cx="8820000" cy="3025055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F02727D-BB7C-4405-8659-FA07CEFE2FE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229225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2145C0-201B-4639-9367-5A25572E31A3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906DC72-5630-4B90-B11A-134657A51C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F78113A-603B-41B2-A600-83EC335B39A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4079868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54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5C4DBE6-F41F-426F-B468-49EC89939E25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444284-BBA2-4837-B0FD-72070F8EF82A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2E5460-6208-48FA-A1BB-171C2D28866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44000"/>
            <a:ext cx="8820000" cy="30250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228F587-542D-4A86-A65E-0473E3BAB6C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229225"/>
            <a:ext cx="8820000" cy="86407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9446C2C-B337-4DBC-8F52-2391117AE801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4CDF03D-2BDD-4E25-909A-1E0948C3E0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0F679D01-D928-4381-8C9B-B381BCBE36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2001738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520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11F4D56-EF25-4E46-85B0-A1E2D91D8ED8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94D9213-8B1E-4538-8596-175C63E9E824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A07F40A-99D1-4F29-AE0D-914EB7F077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44000"/>
            <a:ext cx="8820000" cy="30250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3941A0D-5AAD-444F-B700-7D7A35A303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229225"/>
            <a:ext cx="8820000" cy="8640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5955EA-DA9D-4133-AEEC-56CD417DD4A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6E9026B-02BC-4F08-9A15-41AF92025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4744FF88-0CED-4D57-9656-C16C36F47E6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4731495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e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C68FB76-D68B-46F3-ABF7-455A72E18584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28B8E43-AFB5-498D-8A63-72B450671A7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3284984"/>
            <a:ext cx="8820000" cy="30250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9C08291-38AE-4259-B20C-3716F99530B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7E4D8A-28A4-470B-BA43-4FDA4BDC8B55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7F47699-E174-4C37-A39E-845C674AA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BBC383B-185A-4BC4-B940-1DF2639AD8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383476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en char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676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0841929-EDB1-4DDD-BB26-D19E66FD797B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B3975E0-7451-49FE-AB8E-C2691C3462EE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47F08DF-1659-44AC-A8DC-AFE98194777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C92F3C-FB55-4A58-9344-F442A65F60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E8F736C-74F9-4348-BBA8-B6E3B828F8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73301EED-0D1F-40CB-B00D-F4E4B862C0E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3284984"/>
            <a:ext cx="8820000" cy="27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985FA1E6-6011-4DC4-974E-681F5AD7B4C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507785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en char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600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42E070B-648E-4020-B270-FDB1DE18C9A4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C66821-55BE-494C-BE3C-80E43D26E014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2658AF-EABD-4433-A15D-2AB773462111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0C5F6E-00E9-4C4C-966F-499CD25DA2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D1C5F34-6A27-40CF-8BB6-18A6613C53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777C9B-29ED-4486-AFE6-C7686D13EE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3284984"/>
            <a:ext cx="8820000" cy="277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36D313C-0CDB-4DE6-844D-8A0FCA2AB6A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782930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1863B80-F1CB-49F4-BF8D-661967325589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1B88197-7C16-4BE8-98F5-0DFF490F08B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16113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735158-5112-44E6-9FC0-9F733D72D5F8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E12A5DB-E986-416D-923D-1BC2677890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1030" y="1916832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C1D6222-C23D-4EF3-8533-1FFB1182B6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D1CF64BF-561A-40E2-B05B-798013026D9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B1CD552-32CC-4D8E-9A5C-A9395B900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76829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81D97E-2D92-4F63-9844-FE842D2356A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9D8AB5F-A2B3-451E-8432-4FAA6B62D30F}"/>
              </a:ext>
            </a:extLst>
          </p:cNvPr>
          <p:cNvSpPr txBox="1"/>
          <p:nvPr userDrawn="1"/>
        </p:nvSpPr>
        <p:spPr>
          <a:xfrm>
            <a:off x="540000" y="504000"/>
            <a:ext cx="8784976" cy="482313"/>
          </a:xfrm>
          <a:prstGeom prst="rect">
            <a:avLst/>
          </a:prstGeom>
          <a:noFill/>
        </p:spPr>
        <p:txBody>
          <a:bodyPr wrap="square" lIns="0" tIns="46800" rIns="0" bIns="468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28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4EC3BE-76D4-4204-A77D-2E784D29CCDB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AAE22B1B-CBA5-45A1-ADF2-7C2E8D7703F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40000" y="1620000"/>
            <a:ext cx="8801345" cy="4392488"/>
          </a:xfrm>
        </p:spPr>
        <p:txBody>
          <a:bodyPr/>
          <a:lstStyle>
            <a:lvl1pPr marL="252000" marR="0" indent="-252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1pPr>
            <a:lvl2pPr marL="432000" indent="-252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2pPr>
            <a:lvl3pPr marL="684000" indent="-324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3pPr>
            <a:lvl4pPr marL="809955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noProof="0" dirty="0"/>
              <a:t>Insert table of contents</a:t>
            </a:r>
          </a:p>
          <a:p>
            <a:pPr lvl="1"/>
            <a:r>
              <a:rPr lang="en-AU" noProof="0" dirty="0"/>
              <a:t>Second line</a:t>
            </a:r>
          </a:p>
          <a:p>
            <a:pPr lvl="2"/>
            <a:r>
              <a:rPr lang="en-AU" noProof="0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5371427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277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7330CE4D-8991-4837-826A-D8BA040E47B4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2962EFC-76B9-46CB-8FC9-5955FA6326EC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8B0FD32-4E48-4B66-BBA5-0C4ECEB3EF7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3F2F602-0CDD-43B0-8312-98339FB4F65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16113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1B27414D-C5AD-4FF6-A918-17A3F285F0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1030" y="1916832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BCDB217-37EC-4B90-85CC-F3FA93C8D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50358FB-32C7-4AA2-A452-5B6A35BA25A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D27C12C-890E-4559-AC28-618FA6F7D2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778928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295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697F6D5-AED2-40F8-A488-9659997C3306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0A04501-EEF6-43D2-8295-907AB220C41E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8DCAF3D-F819-4F89-A46B-19E031CBF02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16113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8F4CC1-DB2E-45DF-8ABC-7C102A585853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E506F42-44A0-4A50-BE3E-A96D9ACE63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7033" y="1916832"/>
            <a:ext cx="4198969" cy="3745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657111C-6700-486C-A0D9-36DB7B15CE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45EDD55-5B8E-4160-8314-D3384C3879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97CD53C-0E79-4E90-9AAF-AC7FF0BE5E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9999" y="5882795"/>
            <a:ext cx="8820000" cy="276985"/>
          </a:xfrm>
        </p:spPr>
        <p:txBody>
          <a:bodyPr anchor="ctr">
            <a:sp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610061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031CA84-C457-408E-B86C-46D60734B69B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539D4AC7-A0B8-4B8B-B376-A2A49F4CC01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454" y="1700808"/>
            <a:ext cx="4248596" cy="4535872"/>
          </a:xfr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109CCC7B-E4AF-4DE8-A26A-01BA123D49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1404" y="548680"/>
            <a:ext cx="4248596" cy="5688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F86041-B6A9-4188-A1C9-1EC8BAD55D2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7F3750F-F9B2-432D-978E-2AB2957F89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4259144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D6FCDD1A-0F58-4037-8CFF-FF7795F9C29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4259144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2215370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47511B2-595F-4A9A-A646-D544DFA01C73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0BE027E8-A6CE-44FB-9006-E4A8E99EDF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548680"/>
            <a:ext cx="2664296" cy="5688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299F5D6-A30F-4304-BACA-F27039436B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84848" y="1702172"/>
            <a:ext cx="5775152" cy="4534508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28AC95-733A-46C6-A732-F8499AD23C61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4C2CAA-D9EA-4411-B617-FEF6847C0E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4848" y="504000"/>
            <a:ext cx="5775152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E74BCBA-576F-4DF8-903F-9C433BAEFC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84848" y="1008000"/>
            <a:ext cx="5775152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8148415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mal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1519DC3-7D03-4FA2-93E4-2F4495605860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89FB2094-C79F-4161-8870-238CE22777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1192" y="548680"/>
            <a:ext cx="2664296" cy="5688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F400FC-3642-4643-A150-5A0E3F3BA93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EE9150A4-3069-4C92-A760-C022EA0D4B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1454" y="1700808"/>
            <a:ext cx="5851706" cy="453587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2A72658-3433-4B4F-8A6D-AC55922889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866234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CC9CB964-C821-4398-A375-E6D5903674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5866234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030743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75CB2FD-125F-49C3-8070-90964B15289A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F867B38-068B-47F2-A53E-5B0C95A8634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916113"/>
            <a:ext cx="4198969" cy="374513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B61AE5-CE46-4219-AC93-C394657AAFE1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6B00638-B231-468B-9EE5-3F81BD044C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3884" y="1916832"/>
            <a:ext cx="4198969" cy="20882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6112E7D0-D2EF-467D-8E9B-EF90612ECAD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86389" y="4221088"/>
            <a:ext cx="4198969" cy="19742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9E6C7B9-94B6-44B1-83AB-93F2712174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5A330047-7E5C-4B26-9A5F-D4A445DE13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55D7B12-06F3-4106-B029-8923725843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4198969" cy="276985"/>
          </a:xfrm>
        </p:spPr>
        <p:txBody>
          <a:bodyPr wrap="square"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855237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A29F3BF-B861-4ABA-A326-EF8E5C2747E8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013C50DC-995F-4C4F-A1E5-D0DF03130F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356992"/>
            <a:ext cx="4248596" cy="28816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E70CBBB7-A70F-478F-B71C-D900FDA7DD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7406" y="3355628"/>
            <a:ext cx="4248596" cy="28816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5B85461-5036-4DBD-94A5-44DD2B17B6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385924-005A-400D-9BAC-1453A1CE7003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85D6380-F3B7-4673-B60F-CA18C1B273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B86FCABE-A416-4D3E-9077-97F1738E35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05743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char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207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7B94931E-B2E6-453F-BAAD-DACE6ACB7266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7E34F9-72E6-4A6A-A33A-D165CB067E9C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95052E8E-2F75-4701-BBF5-1514B28650B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356992"/>
            <a:ext cx="4248596" cy="27363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6CE7B746-0789-40EB-BD8C-C142FD27B6C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20712" y="3355628"/>
            <a:ext cx="4248596" cy="27363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30AEE41-03BB-42F6-985A-891D58CE6C5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55583B0-47A4-45EB-87B6-0B7E84BB2019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7967CA5-03E6-403B-AB50-E6D362962C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A2A8A8AE-07AF-4A4F-9AD5-70FC8267B0F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826902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char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33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DC4D9DD-3C6B-4002-948A-F80C4E0BBCFF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C8735C-DB4D-4D8C-A804-36B5B4508E6B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8BDAC9CE-2536-43E8-AAE9-49BEF82655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356992"/>
            <a:ext cx="4248596" cy="27363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45A7896C-759F-4DDC-8E64-05EDF6E8F0C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7406" y="3355628"/>
            <a:ext cx="4248596" cy="27363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8C4CD30-A2B9-4250-8126-0AD0ED8D24B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916832"/>
            <a:ext cx="8820000" cy="1079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5DFF64-FEAC-4979-8D94-AA7FFC6B72A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8DF99A8-C46C-4535-A59F-EA64F028E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F21E2099-6C1D-4431-97C9-B319EE2B545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643178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the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FE59CC9-0F66-4C0E-885E-ED532BA5C83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FB3A56F1-7327-4D15-B5F5-6FDFB1766FC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916832"/>
            <a:ext cx="4248596" cy="288032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8A3B7C66-C683-4365-9233-1D7724EC2B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7406" y="1915468"/>
            <a:ext cx="4248596" cy="288032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0D29076-4619-476F-9202-AECCC8C47BD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085184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7858CC-D7B3-40DC-8EFB-CC0BB36847A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D91CF9F-ECED-405E-943B-7517F2B1A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834CE2FC-2DC7-41FF-955E-A5F291D9EA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83015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06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7EE29BFB-EE74-489A-A437-E26554B32E60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4D88CF-F1E7-4341-9268-17B7D255FD48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B87F1CA-1C1A-4C15-9DAD-1C6E9A6CFF5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5B618E-83A2-44B8-B03A-FFF7A2CC99F7}"/>
              </a:ext>
            </a:extLst>
          </p:cNvPr>
          <p:cNvSpPr txBox="1"/>
          <p:nvPr userDrawn="1"/>
        </p:nvSpPr>
        <p:spPr>
          <a:xfrm>
            <a:off x="540000" y="504000"/>
            <a:ext cx="8784976" cy="482313"/>
          </a:xfrm>
          <a:prstGeom prst="rect">
            <a:avLst/>
          </a:prstGeom>
          <a:noFill/>
        </p:spPr>
        <p:txBody>
          <a:bodyPr wrap="square" lIns="0" tIns="46800" rIns="0" bIns="468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28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545DAD06-60D6-49F0-B8B4-BE6CDBC2B16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40000" y="1620000"/>
            <a:ext cx="8801345" cy="4392488"/>
          </a:xfrm>
        </p:spPr>
        <p:txBody>
          <a:bodyPr/>
          <a:lstStyle>
            <a:lvl1pPr marL="252000" marR="0" indent="-252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 marL="432000" indent="-252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684000" indent="-324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809955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noProof="0" dirty="0"/>
              <a:t>Insert table of contents</a:t>
            </a:r>
          </a:p>
          <a:p>
            <a:pPr lvl="1"/>
            <a:r>
              <a:rPr lang="en-AU" noProof="0" dirty="0"/>
              <a:t>Second line</a:t>
            </a:r>
          </a:p>
          <a:p>
            <a:pPr lvl="2"/>
            <a:r>
              <a:rPr lang="en-AU" noProof="0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7560462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then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56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89A5369C-58C0-418B-AB37-33EC1BEFFD3D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7EE5D0-BCBD-4D9B-9086-B600CAAB7ABF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5931457-895B-45BE-A34D-B16F97F454A0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7669D27-DAC7-4C3E-8E33-45616FA94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93A8BA2-54B5-479D-ADF2-1F24ABFBD7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3DB407B6-9342-45C4-86BB-8724F21220E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916832"/>
            <a:ext cx="4248596" cy="2880320"/>
          </a:xfr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142A2475-0038-46CD-8E79-CE42ED7E78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7406" y="1915468"/>
            <a:ext cx="4248596" cy="2880320"/>
          </a:xfr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2B3E3A6-4001-4963-9717-6649FC5D390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085184"/>
            <a:ext cx="8820000" cy="10795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87911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then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87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0FADCF4F-850E-4C52-970C-BC89048F74B0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7A1EE31-E8C0-4A9D-A8D0-B1BAD90535F5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042A1FD-BB4E-4DBE-8A42-E721D84DA53A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730C481-EE0D-4AA6-ABAB-427AA0AD2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D415C1D-F771-4EAC-AA36-97B4727A57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89BE6FB3-8DDF-48A5-A08E-74966C330FC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916832"/>
            <a:ext cx="4248596" cy="28803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73C4BAB2-9A4C-45D3-8521-F8C35C16913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7406" y="1915468"/>
            <a:ext cx="4248596" cy="28803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5A118AB-7244-4986-A137-CFE67B1A656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5085184"/>
            <a:ext cx="8820000" cy="1079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895122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con pane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853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73520D51-33F5-49DD-9794-97FCF292D538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503BC0B-D5C1-4FD8-BBA9-1E5CEE1684FD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3" name="Picture Placeholder 20">
            <a:extLst>
              <a:ext uri="{FF2B5EF4-FFF2-40B4-BE49-F238E27FC236}">
                <a16:creationId xmlns:a16="http://schemas.microsoft.com/office/drawing/2014/main" id="{154F0FFD-5ED5-4714-9DF5-9CAD2CA93DAC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223793" y="3356992"/>
            <a:ext cx="540000" cy="540000"/>
          </a:xfrm>
        </p:spPr>
        <p:txBody>
          <a:bodyPr/>
          <a:lstStyle>
            <a:lvl1pPr algn="ctr">
              <a:defRPr sz="1000" b="0" baseline="0"/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5D2C011A-087A-40D5-806C-850E3BCE95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6536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21EE2F4-5D28-436D-90CA-0D36B9D0EFA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498642" y="3356992"/>
            <a:ext cx="540000" cy="540000"/>
          </a:xfrm>
        </p:spPr>
        <p:txBody>
          <a:bodyPr/>
          <a:lstStyle>
            <a:lvl1pPr algn="ctr">
              <a:defRPr sz="1000" b="0" baseline="0"/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2" name="Text Placeholder 32">
            <a:extLst>
              <a:ext uri="{FF2B5EF4-FFF2-40B4-BE49-F238E27FC236}">
                <a16:creationId xmlns:a16="http://schemas.microsoft.com/office/drawing/2014/main" id="{8384C005-915F-4403-B5DC-AA13E995E18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51385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3" name="Picture Placeholder 20">
            <a:extLst>
              <a:ext uri="{FF2B5EF4-FFF2-40B4-BE49-F238E27FC236}">
                <a16:creationId xmlns:a16="http://schemas.microsoft.com/office/drawing/2014/main" id="{848F675A-BCF3-435C-9640-BFDD467D39DD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5773491" y="3356992"/>
            <a:ext cx="540000" cy="540000"/>
          </a:xfrm>
        </p:spPr>
        <p:txBody>
          <a:bodyPr/>
          <a:lstStyle>
            <a:lvl1pPr algn="ctr">
              <a:defRPr sz="1000" b="0" baseline="0"/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4" name="Text Placeholder 32">
            <a:extLst>
              <a:ext uri="{FF2B5EF4-FFF2-40B4-BE49-F238E27FC236}">
                <a16:creationId xmlns:a16="http://schemas.microsoft.com/office/drawing/2014/main" id="{8B1CB358-7FB4-4367-AB7F-30DDF4693E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26234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Picture Placeholder 20">
            <a:extLst>
              <a:ext uri="{FF2B5EF4-FFF2-40B4-BE49-F238E27FC236}">
                <a16:creationId xmlns:a16="http://schemas.microsoft.com/office/drawing/2014/main" id="{E9C54EC4-761B-4B01-B8F5-252A3A8FF0C1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8048340" y="3356992"/>
            <a:ext cx="540000" cy="540000"/>
          </a:xfrm>
        </p:spPr>
        <p:txBody>
          <a:bodyPr/>
          <a:lstStyle>
            <a:lvl1pPr algn="ctr">
              <a:defRPr sz="1000" b="0" baseline="0"/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4E9AD6E4-026D-4D0F-A61D-594C2919583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01083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3CF4B68-1EDB-4AD8-9F87-6E9E57AAC8B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FE6AF165-1449-43FC-AB46-0D7B4D9209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B35918BD-A118-4E6E-B1AC-71D263E702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2462089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con pane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480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CBEE5DD-7511-479B-8A0E-0FFDBD8EF915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2F60BA0-05A8-4178-9B75-1D860D8372C5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E4B70D5-1617-4AA4-904E-ED36BA85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221E145E-0356-487E-8BE9-420B1243F9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AB39DE0-6C32-42B3-99B7-BC233114636A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2" name="Picture Placeholder 20">
            <a:extLst>
              <a:ext uri="{FF2B5EF4-FFF2-40B4-BE49-F238E27FC236}">
                <a16:creationId xmlns:a16="http://schemas.microsoft.com/office/drawing/2014/main" id="{E7C7C659-3DE1-4D92-A170-8F5E5477C8BA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223793" y="3356992"/>
            <a:ext cx="540000" cy="540000"/>
          </a:xfrm>
        </p:spPr>
        <p:txBody>
          <a:bodyPr/>
          <a:lstStyle>
            <a:lvl1pPr algn="ctr">
              <a:defRPr sz="10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166A6196-3E6F-43AE-8C9F-C2F2160767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6536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Picture Placeholder 20">
            <a:extLst>
              <a:ext uri="{FF2B5EF4-FFF2-40B4-BE49-F238E27FC236}">
                <a16:creationId xmlns:a16="http://schemas.microsoft.com/office/drawing/2014/main" id="{7DB3D364-FA47-4AC3-853E-B9D102F38DFF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498642" y="3356992"/>
            <a:ext cx="540000" cy="540000"/>
          </a:xfrm>
        </p:spPr>
        <p:txBody>
          <a:bodyPr/>
          <a:lstStyle>
            <a:lvl1pPr algn="ctr">
              <a:defRPr sz="10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5" name="Text Placeholder 32">
            <a:extLst>
              <a:ext uri="{FF2B5EF4-FFF2-40B4-BE49-F238E27FC236}">
                <a16:creationId xmlns:a16="http://schemas.microsoft.com/office/drawing/2014/main" id="{97E9C298-891D-4C4E-8233-C0C2A84B08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51385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Picture Placeholder 20">
            <a:extLst>
              <a:ext uri="{FF2B5EF4-FFF2-40B4-BE49-F238E27FC236}">
                <a16:creationId xmlns:a16="http://schemas.microsoft.com/office/drawing/2014/main" id="{EC240B4F-37D9-415E-B170-4CDB73CF7A06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5773491" y="3356992"/>
            <a:ext cx="540000" cy="540000"/>
          </a:xfrm>
        </p:spPr>
        <p:txBody>
          <a:bodyPr/>
          <a:lstStyle>
            <a:lvl1pPr algn="ctr">
              <a:defRPr sz="10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087D28E7-BE6D-4630-97C8-03243D51F3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26234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8" name="Picture Placeholder 20">
            <a:extLst>
              <a:ext uri="{FF2B5EF4-FFF2-40B4-BE49-F238E27FC236}">
                <a16:creationId xmlns:a16="http://schemas.microsoft.com/office/drawing/2014/main" id="{A4E1BDAD-F9B7-487D-9BC4-31A4E39D1E49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8048340" y="3356992"/>
            <a:ext cx="540000" cy="540000"/>
          </a:xfrm>
        </p:spPr>
        <p:txBody>
          <a:bodyPr/>
          <a:lstStyle>
            <a:lvl1pPr algn="ctr">
              <a:defRPr sz="10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9" name="Text Placeholder 32">
            <a:extLst>
              <a:ext uri="{FF2B5EF4-FFF2-40B4-BE49-F238E27FC236}">
                <a16:creationId xmlns:a16="http://schemas.microsoft.com/office/drawing/2014/main" id="{B606A368-AE2D-4870-874F-D1251991057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01083" y="4154986"/>
            <a:ext cx="1434514" cy="276985"/>
          </a:xfrm>
        </p:spPr>
        <p:txBody>
          <a:bodyPr>
            <a:spAutoFit/>
          </a:bodyPr>
          <a:lstStyle>
            <a:lvl1pPr algn="ctr">
              <a:defRPr sz="1200" b="1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9467449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440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5C0DD0CA-B83A-4D4B-BC19-45C5006BD756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631049F-86B8-499C-B144-206D78A79507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13109EB8-B9B1-48F4-B4DA-F2AB3277FF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96000" y="2407324"/>
            <a:ext cx="3503144" cy="576064"/>
          </a:xfrm>
          <a:prstGeom prst="rect">
            <a:avLst/>
          </a:prstGeom>
          <a:noFill/>
          <a:ln>
            <a:noFill/>
          </a:ln>
        </p:spPr>
        <p:txBody>
          <a:bodyPr lIns="0" tIns="72000" rIns="0" bIns="72000" anchor="ctr"/>
          <a:lstStyle>
            <a:lvl1pPr algn="l">
              <a:defRPr sz="16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F1A41A99-E1CD-4C4D-B197-602D0CDA3C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99" y="3127404"/>
            <a:ext cx="4248000" cy="2303999"/>
          </a:xfrm>
          <a:prstGeom prst="rect">
            <a:avLst/>
          </a:prstGeom>
        </p:spPr>
        <p:txBody>
          <a:bodyPr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buClrTx/>
              <a:defRPr sz="1200">
                <a:solidFill>
                  <a:schemeClr val="bg1"/>
                </a:solidFill>
              </a:defRPr>
            </a:lvl2pPr>
            <a:lvl3pPr>
              <a:buClrTx/>
              <a:defRPr sz="12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64D86D23-CC6D-439B-8F88-00763256193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0000" y="2407324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79C764E-7C50-4048-80CB-DD0B42916F8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FDAB474-821B-4A6E-85FD-28C4CE4D1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3EBA48EA-5C11-4D1A-9C34-577B533B99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81E6F898-F086-44C7-AE90-03AA307049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862859" y="2407324"/>
            <a:ext cx="3503144" cy="576064"/>
          </a:xfrm>
          <a:prstGeom prst="rect">
            <a:avLst/>
          </a:prstGeom>
          <a:noFill/>
          <a:ln>
            <a:noFill/>
          </a:ln>
        </p:spPr>
        <p:txBody>
          <a:bodyPr lIns="0" tIns="72000" rIns="0" bIns="72000" anchor="ctr"/>
          <a:lstStyle>
            <a:lvl1pPr algn="l">
              <a:defRPr sz="16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0E398CF1-F6ED-4262-80E0-3E90E3FED8E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06858" y="3127404"/>
            <a:ext cx="4248000" cy="2303999"/>
          </a:xfrm>
          <a:prstGeom prst="rect">
            <a:avLst/>
          </a:prstGeom>
        </p:spPr>
        <p:txBody>
          <a:bodyPr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buClrTx/>
              <a:defRPr sz="1200">
                <a:solidFill>
                  <a:schemeClr val="bg1"/>
                </a:solidFill>
              </a:defRPr>
            </a:lvl2pPr>
            <a:lvl3pPr>
              <a:buClrTx/>
              <a:defRPr sz="12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ADBE8291-1F72-411B-B2E3-6FF0C24AF14D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6859" y="2407324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7803551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636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98181BD9-16D0-4327-AF4D-61616C973841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0580727-2078-434D-B170-E861B7746D53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B8897841-7E41-4C1C-B362-3F380C9C5128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30CF26-FBEE-4D8E-AA06-9FF3D9E227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4E21B70D-66E3-4FC3-89C2-B28A6D7B17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BA3AEF60-1E68-47DC-8306-21ADE1BE44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96000" y="2407324"/>
            <a:ext cx="3503144" cy="576064"/>
          </a:xfrm>
          <a:prstGeom prst="rect">
            <a:avLst/>
          </a:prstGeom>
          <a:noFill/>
          <a:ln>
            <a:noFill/>
          </a:ln>
        </p:spPr>
        <p:txBody>
          <a:bodyPr lIns="0" tIns="72000" rIns="0" bIns="72000" anchor="ctr"/>
          <a:lstStyle>
            <a:lvl1pPr algn="l">
              <a:defRPr sz="16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5BDEE03C-E16A-4BAB-AF14-DA40C32E0B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99" y="3127404"/>
            <a:ext cx="4248000" cy="2303999"/>
          </a:xfrm>
          <a:prstGeom prst="rect">
            <a:avLst/>
          </a:prstGeom>
        </p:spPr>
        <p:txBody>
          <a:bodyPr/>
          <a:lstStyle>
            <a:lvl1pPr>
              <a:lnSpc>
                <a:spcPts val="1400"/>
              </a:lnSpc>
              <a:defRPr sz="1200">
                <a:solidFill>
                  <a:schemeClr val="bg2"/>
                </a:solidFill>
              </a:defRPr>
            </a:lvl1pPr>
            <a:lvl2pPr>
              <a:buClrTx/>
              <a:defRPr sz="1200">
                <a:solidFill>
                  <a:schemeClr val="bg2"/>
                </a:solidFill>
              </a:defRPr>
            </a:lvl2pPr>
            <a:lvl3pPr>
              <a:buClrTx/>
              <a:defRPr sz="1200">
                <a:solidFill>
                  <a:schemeClr val="bg2"/>
                </a:solidFill>
              </a:defRPr>
            </a:lvl3pPr>
            <a:lvl4pPr>
              <a:buClrTx/>
              <a:defRPr sz="1200">
                <a:solidFill>
                  <a:schemeClr val="bg2"/>
                </a:solidFill>
              </a:defRPr>
            </a:lvl4pPr>
            <a:lvl5pPr>
              <a:buClrTx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31" name="Picture Placeholder 18">
            <a:extLst>
              <a:ext uri="{FF2B5EF4-FFF2-40B4-BE49-F238E27FC236}">
                <a16:creationId xmlns:a16="http://schemas.microsoft.com/office/drawing/2014/main" id="{90BF3850-10E4-401B-9BC3-DAD926ACC6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0000" y="2407324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7E9B7AF5-8A8C-4892-AE02-F66B2EF100D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862859" y="2407324"/>
            <a:ext cx="3503144" cy="576064"/>
          </a:xfrm>
          <a:prstGeom prst="rect">
            <a:avLst/>
          </a:prstGeom>
          <a:noFill/>
          <a:ln>
            <a:noFill/>
          </a:ln>
        </p:spPr>
        <p:txBody>
          <a:bodyPr lIns="0" tIns="72000" rIns="0" bIns="72000" anchor="ctr"/>
          <a:lstStyle>
            <a:lvl1pPr algn="l">
              <a:defRPr sz="16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5B2E5C1B-66B8-48DC-B82B-95FE3D6A0F0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06858" y="3127404"/>
            <a:ext cx="4248000" cy="2303999"/>
          </a:xfrm>
          <a:prstGeom prst="rect">
            <a:avLst/>
          </a:prstGeom>
        </p:spPr>
        <p:txBody>
          <a:bodyPr/>
          <a:lstStyle>
            <a:lvl1pPr>
              <a:lnSpc>
                <a:spcPts val="1400"/>
              </a:lnSpc>
              <a:defRPr sz="1200">
                <a:solidFill>
                  <a:schemeClr val="bg2"/>
                </a:solidFill>
              </a:defRPr>
            </a:lvl1pPr>
            <a:lvl2pPr>
              <a:buClrTx/>
              <a:defRPr sz="1200">
                <a:solidFill>
                  <a:schemeClr val="bg2"/>
                </a:solidFill>
              </a:defRPr>
            </a:lvl2pPr>
            <a:lvl3pPr>
              <a:buClrTx/>
              <a:defRPr sz="1200">
                <a:solidFill>
                  <a:schemeClr val="bg2"/>
                </a:solidFill>
              </a:defRPr>
            </a:lvl3pPr>
            <a:lvl4pPr>
              <a:buClrTx/>
              <a:defRPr sz="1200">
                <a:solidFill>
                  <a:schemeClr val="bg2"/>
                </a:solidFill>
              </a:defRPr>
            </a:lvl4pPr>
            <a:lvl5pPr>
              <a:buClrTx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34" name="Picture Placeholder 18">
            <a:extLst>
              <a:ext uri="{FF2B5EF4-FFF2-40B4-BE49-F238E27FC236}">
                <a16:creationId xmlns:a16="http://schemas.microsoft.com/office/drawing/2014/main" id="{B5F9031A-742B-4395-9B72-5A2FB39BA5C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6859" y="2407324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1384798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D01A0FE-16C6-445E-BD66-9EFF06130101}"/>
              </a:ext>
            </a:extLst>
          </p:cNvPr>
          <p:cNvSpPr/>
          <p:nvPr userDrawn="1"/>
        </p:nvSpPr>
        <p:spPr>
          <a:xfrm>
            <a:off x="27" y="107999"/>
            <a:ext cx="4520925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1D109226-B90E-4831-A181-E757AA487BD2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DFDD0AD-2ADF-4DB1-88F4-0237D258D415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3A3D97F2-CAFF-47CD-B968-D275311027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40000" y="697443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9F19489-C180-417B-91D6-4ECFB844E73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2772948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B76BF872-8B11-4277-9A58-C78F440B719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0000" y="4841850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445E2D6-5E5C-4819-A6F9-FE93B5146B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40000" y="769451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26B76940-3C06-455C-9A54-BDA44D6765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0000" y="1156008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chemeClr val="accent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9F553CB-9459-4C81-B7E8-043294B83D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2844857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B6B16FBB-F182-42AB-B810-D8998BF1E7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3231414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8B10F7F9-6202-4637-A305-B6AEF5FACE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40000" y="4913858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0E13380D-EDFA-4BB9-9E1B-D5C179A50A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40000" y="5300415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chemeClr val="accent4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B0685149-64E5-4017-933B-280E38970C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2669" y="766242"/>
            <a:ext cx="4466107" cy="122083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A1A564E-F668-4D11-86B8-C278C1CB67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52669" y="2841139"/>
            <a:ext cx="4466107" cy="122083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446145B9-E421-4579-BC50-1878823FDD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52669" y="4910169"/>
            <a:ext cx="4466107" cy="122083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7156071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5290DD69-3297-4D7E-B2A2-52AA489956FC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76C8AB24-C897-4355-B7BE-C9B29A0D2392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CE7A9CF-D06D-4817-8F67-C0A7B9694E6A}"/>
              </a:ext>
            </a:extLst>
          </p:cNvPr>
          <p:cNvSpPr/>
          <p:nvPr userDrawn="1"/>
        </p:nvSpPr>
        <p:spPr>
          <a:xfrm>
            <a:off x="27" y="107999"/>
            <a:ext cx="4520925" cy="6753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EBAA1BA9-9464-4B40-8F69-CFA23F72FC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40000" y="697443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7D6FEEB-BAF1-4AAC-AAC2-51DAB90EAC0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2772948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con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6DF1720F-F6E1-4701-BC48-D168DEDEC6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40000" y="4841850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con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EFFFF6B-300C-4399-9C1E-291644E4B7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40000" y="769451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tx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86BB59F-3DEB-4D4D-BF54-1A737C2921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0000" y="1156008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36ABD60-7CC8-4752-9380-6CE45232D1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440000" y="2844857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rgbClr val="2C71B5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14F44A2-7912-43A3-BB09-5AC938689D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40000" y="3231414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rgbClr val="2C71B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9A0366D-9852-453C-A651-D70B42BA53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40000" y="4913858"/>
            <a:ext cx="2376487" cy="38735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accent6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54273100-1030-4283-AD9F-E21BC7EF41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40000" y="5300415"/>
            <a:ext cx="2376487" cy="31391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160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361D9FD-8596-4276-B9BB-90F8223432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2669" y="766242"/>
            <a:ext cx="4466107" cy="122083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69B8AF3-1E09-4B0D-B538-5188AAE0DF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52669" y="2841139"/>
            <a:ext cx="4466107" cy="122083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F2B74739-E35F-478A-BC9D-502A47B5CA0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52669" y="4910169"/>
            <a:ext cx="4466107" cy="122083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buClrTx/>
              <a:defRPr sz="12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2960434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A87EC17-4A65-4FD7-8900-D013E50D1521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4F684D2-317A-464C-929D-4EB0BCEE7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428" y="1557338"/>
            <a:ext cx="8496622" cy="1439862"/>
          </a:xfrm>
        </p:spPr>
        <p:txBody>
          <a:bodyPr anchor="ctr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060F9F4-219A-480A-825B-207F220DE2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0552" y="3284984"/>
            <a:ext cx="8496622" cy="1439862"/>
          </a:xfrm>
        </p:spPr>
        <p:txBody>
          <a:bodyPr anchor="ctr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E05B31B-4E65-4C5E-B8D7-F331AF26A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0874" y="5013176"/>
            <a:ext cx="8496622" cy="1439862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2E9599-AEAE-438D-AF2F-EA1793B2FF12}"/>
              </a:ext>
            </a:extLst>
          </p:cNvPr>
          <p:cNvSpPr/>
          <p:nvPr userDrawn="1"/>
        </p:nvSpPr>
        <p:spPr>
          <a:xfrm>
            <a:off x="0" y="109728"/>
            <a:ext cx="347303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9425A35-50E0-4413-8363-8E70B4DBABB4}"/>
              </a:ext>
            </a:extLst>
          </p:cNvPr>
          <p:cNvSpPr>
            <a:spLocks noChangeAspect="1"/>
          </p:cNvSpPr>
          <p:nvPr userDrawn="1"/>
        </p:nvSpPr>
        <p:spPr>
          <a:xfrm>
            <a:off x="200472" y="213326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D439F0-A87A-48EA-9A75-A90C68743E19}"/>
              </a:ext>
            </a:extLst>
          </p:cNvPr>
          <p:cNvSpPr>
            <a:spLocks noChangeAspect="1"/>
          </p:cNvSpPr>
          <p:nvPr userDrawn="1"/>
        </p:nvSpPr>
        <p:spPr>
          <a:xfrm>
            <a:off x="200472" y="3860915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8EE097C-6F65-40F2-8F19-0938CB9A3FFB}"/>
              </a:ext>
            </a:extLst>
          </p:cNvPr>
          <p:cNvSpPr>
            <a:spLocks noChangeAspect="1"/>
          </p:cNvSpPr>
          <p:nvPr userDrawn="1"/>
        </p:nvSpPr>
        <p:spPr>
          <a:xfrm>
            <a:off x="200472" y="5589107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034305-C1B1-4FAF-9832-4C3FD8B1F6A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DACC76D-60C0-44E1-A647-551C291F0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428" y="504000"/>
            <a:ext cx="8439572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729382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D8F56AEA-2680-41BC-A24F-A2F4015A0202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24A01E3-5202-4800-9E62-94216F5D21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0428" y="1557338"/>
            <a:ext cx="8496622" cy="1008112"/>
          </a:xfrm>
        </p:spPr>
        <p:txBody>
          <a:bodyPr anchor="ctr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45E0AE5-20EF-4D65-A28A-1A29E280DB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0552" y="2780928"/>
            <a:ext cx="8496622" cy="1008112"/>
          </a:xfrm>
        </p:spPr>
        <p:txBody>
          <a:bodyPr anchor="ctr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971EF7C-A018-4FE0-B481-DB839E1764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0552" y="4006144"/>
            <a:ext cx="8496622" cy="1008112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8004A58-2700-4CF6-9FEE-AF931B03C075}"/>
              </a:ext>
            </a:extLst>
          </p:cNvPr>
          <p:cNvSpPr/>
          <p:nvPr userDrawn="1"/>
        </p:nvSpPr>
        <p:spPr>
          <a:xfrm>
            <a:off x="0" y="109728"/>
            <a:ext cx="347303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60BF433-C45A-4B69-9846-9A9F707B43DC}"/>
              </a:ext>
            </a:extLst>
          </p:cNvPr>
          <p:cNvSpPr>
            <a:spLocks noChangeAspect="1"/>
          </p:cNvSpPr>
          <p:nvPr userDrawn="1"/>
        </p:nvSpPr>
        <p:spPr>
          <a:xfrm>
            <a:off x="198855" y="19173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4E894BC-C80E-4FBF-883F-F67081E9D625}"/>
              </a:ext>
            </a:extLst>
          </p:cNvPr>
          <p:cNvSpPr>
            <a:spLocks noChangeAspect="1"/>
          </p:cNvSpPr>
          <p:nvPr userDrawn="1"/>
        </p:nvSpPr>
        <p:spPr>
          <a:xfrm>
            <a:off x="198855" y="314098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A519AC-80A1-4FD9-BA0F-7FE10218DA00}"/>
              </a:ext>
            </a:extLst>
          </p:cNvPr>
          <p:cNvSpPr>
            <a:spLocks noChangeAspect="1"/>
          </p:cNvSpPr>
          <p:nvPr userDrawn="1"/>
        </p:nvSpPr>
        <p:spPr>
          <a:xfrm>
            <a:off x="198855" y="5589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EDA5F77-BE54-4F3B-AFC7-B846ACF1F7D0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B42825F1-E592-41D4-82DD-FB879D42AF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0552" y="5229200"/>
            <a:ext cx="8496622" cy="1008112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E46D541-8739-4184-AB1E-45FDC0878610}"/>
              </a:ext>
            </a:extLst>
          </p:cNvPr>
          <p:cNvSpPr>
            <a:spLocks noChangeAspect="1"/>
          </p:cNvSpPr>
          <p:nvPr userDrawn="1"/>
        </p:nvSpPr>
        <p:spPr>
          <a:xfrm>
            <a:off x="198855" y="4366200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2CF15270-E7C7-46CD-AA89-3F33A6F3E0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428" y="504000"/>
            <a:ext cx="8439572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821456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5812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7A2CA614-EB5B-4B1E-83E4-67DF548CDF1A}"/>
              </a:ext>
            </a:extLst>
          </p:cNvPr>
          <p:cNvSpPr/>
          <p:nvPr userDrawn="1"/>
        </p:nvSpPr>
        <p:spPr>
          <a:xfrm>
            <a:off x="0" y="1368000"/>
            <a:ext cx="9907200" cy="49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5A1FD9-93B3-41D0-B05D-86A0AB625FA0}"/>
              </a:ext>
            </a:extLst>
          </p:cNvPr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98F5FAE-6822-47F9-A076-F53FAD8D50D3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64BE7D6B-D57C-43F5-8EF3-571D23354B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40000" y="1620000"/>
            <a:ext cx="8801345" cy="4392488"/>
          </a:xfrm>
        </p:spPr>
        <p:txBody>
          <a:bodyPr/>
          <a:lstStyle>
            <a:lvl1pPr marL="252000" marR="0" indent="-252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1pPr>
            <a:lvl2pPr marL="432000" indent="-252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2pPr>
            <a:lvl3pPr marL="684000" indent="-324000"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3pPr>
            <a:lvl4pPr marL="809955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noProof="0" dirty="0"/>
              <a:t>Insert table of contents</a:t>
            </a:r>
          </a:p>
          <a:p>
            <a:pPr lvl="1"/>
            <a:r>
              <a:rPr lang="en-AU" noProof="0" dirty="0"/>
              <a:t>Second line</a:t>
            </a:r>
          </a:p>
          <a:p>
            <a:pPr lvl="2"/>
            <a:r>
              <a:rPr lang="en-AU" noProof="0" dirty="0"/>
              <a:t>Third li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91F433-57AD-46D7-B429-1E61DB5CB6F2}"/>
              </a:ext>
            </a:extLst>
          </p:cNvPr>
          <p:cNvSpPr txBox="1"/>
          <p:nvPr userDrawn="1"/>
        </p:nvSpPr>
        <p:spPr>
          <a:xfrm>
            <a:off x="540000" y="504000"/>
            <a:ext cx="8784976" cy="482313"/>
          </a:xfrm>
          <a:prstGeom prst="rect">
            <a:avLst/>
          </a:prstGeom>
          <a:noFill/>
        </p:spPr>
        <p:txBody>
          <a:bodyPr wrap="square" lIns="0" tIns="46800" rIns="0" bIns="468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28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1145440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A259CF1-8DE6-419D-A851-602934332D4E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D9E7EC1-8B6B-4BAD-814D-FC82FA14590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75F673E-B7E6-4266-B849-35898D56521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26703" y="2096283"/>
            <a:ext cx="8245898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143B78E-0647-4EC6-BA34-975B252AC5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26655" y="3124678"/>
            <a:ext cx="8245122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4A70A85-BC51-4749-8881-EF1FA352599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26800" y="4153073"/>
            <a:ext cx="8244977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1FC394-78B6-4F24-8B16-A6E14EE02598}"/>
              </a:ext>
            </a:extLst>
          </p:cNvPr>
          <p:cNvSpPr/>
          <p:nvPr userDrawn="1"/>
        </p:nvSpPr>
        <p:spPr>
          <a:xfrm>
            <a:off x="531591" y="1728000"/>
            <a:ext cx="36000" cy="457199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8A352A7-3580-4165-A330-3C7AE59898E7}"/>
              </a:ext>
            </a:extLst>
          </p:cNvPr>
          <p:cNvSpPr/>
          <p:nvPr userDrawn="1"/>
        </p:nvSpPr>
        <p:spPr>
          <a:xfrm>
            <a:off x="435291" y="2342910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709EE1A-C40E-4150-8218-DFF0C70EE8A7}"/>
              </a:ext>
            </a:extLst>
          </p:cNvPr>
          <p:cNvSpPr/>
          <p:nvPr userDrawn="1"/>
        </p:nvSpPr>
        <p:spPr>
          <a:xfrm>
            <a:off x="435291" y="3371305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10C6AEC-9C3C-456E-B44E-8C502D770FF2}"/>
              </a:ext>
            </a:extLst>
          </p:cNvPr>
          <p:cNvSpPr/>
          <p:nvPr userDrawn="1"/>
        </p:nvSpPr>
        <p:spPr>
          <a:xfrm>
            <a:off x="435291" y="4399700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981358E6-713F-47DA-972E-94B30543416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26800" y="5181469"/>
            <a:ext cx="8244977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E2789C5-085E-41BB-AD21-1B9EE6EF27BD}"/>
              </a:ext>
            </a:extLst>
          </p:cNvPr>
          <p:cNvSpPr/>
          <p:nvPr userDrawn="1"/>
        </p:nvSpPr>
        <p:spPr>
          <a:xfrm>
            <a:off x="435291" y="54280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7C6599A-4B40-4AAA-98E7-02FC849F1C3E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0169D496-B774-45E0-A319-C551F8112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9225A052-3B70-4C2C-9999-7E5099E0B8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8691738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poi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04721DB-93BD-4B1A-B120-1A907EE221F7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568359-87FA-4CAE-AFD3-F4CFD06628DB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B3D220C-62FB-4FDD-9F3B-89375878E3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2A1B32-8FBA-45D1-B85B-B211A999F9DC}"/>
              </a:ext>
            </a:extLst>
          </p:cNvPr>
          <p:cNvSpPr/>
          <p:nvPr userDrawn="1"/>
        </p:nvSpPr>
        <p:spPr>
          <a:xfrm>
            <a:off x="0" y="1728000"/>
            <a:ext cx="9906000" cy="457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3294515-F52B-4DC2-A0FD-84A56543EA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26703" y="2564904"/>
            <a:ext cx="8245898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1744586-053B-4454-88A8-429318138C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26655" y="3593299"/>
            <a:ext cx="8245122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5F52FEC-9000-49E3-90B9-45C8B4D8DD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26800" y="4621694"/>
            <a:ext cx="8244977" cy="721854"/>
          </a:xfrm>
          <a:noFill/>
        </p:spPr>
        <p:txBody>
          <a:bodyPr lIns="252000" tIns="180000" rIns="252000" bIns="180000" anchor="ctr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4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7BDE957-77DD-421F-B1E0-142302544B41}"/>
              </a:ext>
            </a:extLst>
          </p:cNvPr>
          <p:cNvSpPr/>
          <p:nvPr userDrawn="1"/>
        </p:nvSpPr>
        <p:spPr>
          <a:xfrm>
            <a:off x="531591" y="1728000"/>
            <a:ext cx="36000" cy="457199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58F4445-53A5-4B7D-B6BB-1A3CA124C516}"/>
              </a:ext>
            </a:extLst>
          </p:cNvPr>
          <p:cNvSpPr/>
          <p:nvPr userDrawn="1"/>
        </p:nvSpPr>
        <p:spPr>
          <a:xfrm>
            <a:off x="435291" y="281153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848E42D-CD71-442F-9247-EC184AE853BB}"/>
              </a:ext>
            </a:extLst>
          </p:cNvPr>
          <p:cNvSpPr/>
          <p:nvPr userDrawn="1"/>
        </p:nvSpPr>
        <p:spPr>
          <a:xfrm>
            <a:off x="435291" y="383992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6D1E42-8724-48A1-BDA2-818835E15B8D}"/>
              </a:ext>
            </a:extLst>
          </p:cNvPr>
          <p:cNvSpPr/>
          <p:nvPr userDrawn="1"/>
        </p:nvSpPr>
        <p:spPr>
          <a:xfrm>
            <a:off x="435291" y="486832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CEDA2A17-0F0D-4189-A06A-E2BE19C609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1634077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smal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469921D-6122-4EDD-9011-BBA3F0035A81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C71BA52-B0E9-4CD7-896D-C88CB13057CD}"/>
              </a:ext>
            </a:extLst>
          </p:cNvPr>
          <p:cNvSpPr/>
          <p:nvPr userDrawn="1"/>
        </p:nvSpPr>
        <p:spPr>
          <a:xfrm>
            <a:off x="0" y="108000"/>
            <a:ext cx="229208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9168C06-0190-42B6-B34C-EAEC3F2421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48744" y="1412776"/>
            <a:ext cx="6768876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C1293A5-5F56-4885-9B7F-FD9816A6A8E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999" y="548680"/>
            <a:ext cx="1692000" cy="5688632"/>
          </a:xfrm>
        </p:spPr>
        <p:txBody>
          <a:bodyPr anchor="ctr"/>
          <a:lstStyle>
            <a:lvl1pP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2"/>
              </a:buCl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2"/>
              </a:buCl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C2FAFE-4371-4A82-A85F-8184CE4AFF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60300" y="6021288"/>
            <a:ext cx="6685313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FB3395-5E24-40B9-B61A-06F6E3CDAF0B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52C9C52-4C59-42B0-8353-13240C7CC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9600" y="504000"/>
            <a:ext cx="6711256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4106165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sma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AB742F3-2579-448E-86D9-3B34982464B4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4E72E45-16EC-43A9-A8AF-216F2AD023FA}"/>
              </a:ext>
            </a:extLst>
          </p:cNvPr>
          <p:cNvSpPr/>
          <p:nvPr userDrawn="1"/>
        </p:nvSpPr>
        <p:spPr>
          <a:xfrm>
            <a:off x="-3376" y="108000"/>
            <a:ext cx="229208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D2D8FC7-E870-4886-8185-B2A8EAE293C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48744" y="1412776"/>
            <a:ext cx="6768876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ED8396A-C5AC-45AE-98CD-594027AE828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8000" y="548680"/>
            <a:ext cx="1692000" cy="5688632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599866-8741-416B-BA66-608A263DFD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60300" y="6021288"/>
            <a:ext cx="6685313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757E42-A227-43A6-A815-BE507BEA64FB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F7E6E81-F53C-47F4-8E27-FB21696002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9600" y="504000"/>
            <a:ext cx="6711256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6158106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smal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1AAFE9D-E1FE-4E72-A490-717799F45CF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B7DD8B-26A1-412D-8DE0-F86A2FE8FD15}"/>
              </a:ext>
            </a:extLst>
          </p:cNvPr>
          <p:cNvSpPr/>
          <p:nvPr userDrawn="1"/>
        </p:nvSpPr>
        <p:spPr>
          <a:xfrm>
            <a:off x="7618543" y="108000"/>
            <a:ext cx="229208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E8B2E7D-9704-4932-A8D4-A2B9EBDBAFE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0388" y="1412776"/>
            <a:ext cx="6732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FE4EAFA-7A1F-4F40-A096-864AEF2CEA9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920000" y="562159"/>
            <a:ext cx="1692000" cy="5688632"/>
          </a:xfrm>
        </p:spPr>
        <p:txBody>
          <a:bodyPr anchor="ctr"/>
          <a:lstStyle>
            <a:lvl1pP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2"/>
              </a:buCl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2"/>
              </a:buClr>
              <a:defRPr sz="14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2ECD713-105D-4207-BCA1-4133B1F8F5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1944" y="6021288"/>
            <a:ext cx="6685313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AD7DC2-2226-4FD3-942C-0234114A1A2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4D71E79-3B84-4690-A10C-A076EF47BA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6732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8102316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small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7A39B5B-A04E-494D-BD40-18047BCD0234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D57A41F-064D-43C0-8C24-C76ADBE53052}"/>
              </a:ext>
            </a:extLst>
          </p:cNvPr>
          <p:cNvSpPr/>
          <p:nvPr userDrawn="1"/>
        </p:nvSpPr>
        <p:spPr>
          <a:xfrm>
            <a:off x="7613920" y="108000"/>
            <a:ext cx="229208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E160EAD-13DC-48CF-ACF2-AAD4B7ABA7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0388" y="1412776"/>
            <a:ext cx="6732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2053CC5-8671-41AA-86E1-49BB66697FC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920000" y="562159"/>
            <a:ext cx="1692000" cy="5688632"/>
          </a:xfrm>
        </p:spPr>
        <p:txBody>
          <a:bodyPr anchor="ctr"/>
          <a:lstStyle>
            <a:lvl1pP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96D169B-BD7C-46FB-B667-6C3BDCE5D06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1944" y="6021288"/>
            <a:ext cx="6685313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A7D766-B516-4A9F-A94A-AD06C64C0B85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D8B251-1D02-47C1-90AA-AAD7B305D8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6732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53261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6950D2C-9C6D-461D-A135-64A9FE447658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239133-99B3-4048-8D29-65C5E15F78CD}"/>
              </a:ext>
            </a:extLst>
          </p:cNvPr>
          <p:cNvSpPr/>
          <p:nvPr userDrawn="1"/>
        </p:nvSpPr>
        <p:spPr>
          <a:xfrm>
            <a:off x="-3376" y="108000"/>
            <a:ext cx="3270094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BB6EE19F-6938-47C4-AD2D-3A15117539F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36000" y="1412776"/>
            <a:ext cx="5760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528581F-007E-4FDE-9A0C-1E854A24B4A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6000" y="548680"/>
            <a:ext cx="2448271" cy="5688632"/>
          </a:xfrm>
        </p:spPr>
        <p:txBody>
          <a:bodyPr anchor="ctr"/>
          <a:lstStyle>
            <a:lvl1pP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A48245D-34BB-4C30-8FFF-1352DDC188C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36000" y="6021288"/>
            <a:ext cx="5760765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C53D47-35E9-47C2-9B7A-2F5C8937AE0C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4715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 pane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5621FEA-6DFA-4D4A-A7F3-F5FDEDEF27CB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B144E1F-0363-414A-8AF2-41E93C83EF19}"/>
              </a:ext>
            </a:extLst>
          </p:cNvPr>
          <p:cNvSpPr/>
          <p:nvPr userDrawn="1"/>
        </p:nvSpPr>
        <p:spPr>
          <a:xfrm>
            <a:off x="-3376" y="108000"/>
            <a:ext cx="3270094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D6FC016-6FCA-4FA1-9E60-608DE9D7F0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600610"/>
            <a:ext cx="2376264" cy="3700598"/>
          </a:xfrm>
        </p:spPr>
        <p:txBody>
          <a:bodyPr anchor="ctr"/>
          <a:lstStyle>
            <a:lvl1pPr algn="ctr">
              <a:defRPr sz="18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Pull Quote</a:t>
            </a:r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A2B590F8-7704-4DB0-9D61-8BB7F632CAC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3539" y="980728"/>
            <a:ext cx="422362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0">
            <a:extLst>
              <a:ext uri="{FF2B5EF4-FFF2-40B4-BE49-F238E27FC236}">
                <a16:creationId xmlns:a16="http://schemas.microsoft.com/office/drawing/2014/main" id="{4515E85C-58DF-4B35-A51A-18816F2094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 rot="10800000">
            <a:off x="2397441" y="5589240"/>
            <a:ext cx="422362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D7F6E2-AEDB-43DE-9349-450F22E693FC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59C6269-30FF-4746-A6C7-0B5E39C7D1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6000" y="504000"/>
            <a:ext cx="576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AF0C6EB5-0C91-44F9-A180-DB9404E5D8F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36000" y="1412776"/>
            <a:ext cx="5760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D4B3C02-4638-44DA-BFE0-EF57497552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36000" y="6021288"/>
            <a:ext cx="5760765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2527678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ide pane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0D6B3BA-EE03-4C5B-8180-AEF5F5D86C51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C5CBB4-4893-4B1A-985A-103A6BA6076A}"/>
              </a:ext>
            </a:extLst>
          </p:cNvPr>
          <p:cNvSpPr/>
          <p:nvPr userDrawn="1"/>
        </p:nvSpPr>
        <p:spPr>
          <a:xfrm>
            <a:off x="6635906" y="108000"/>
            <a:ext cx="3270094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7DBA7E21-D8AB-48F2-A958-3CA01984E40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412776"/>
            <a:ext cx="5688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DFDA2B6-48ED-4C27-95C6-F9D24CA1F32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1232" y="548680"/>
            <a:ext cx="2448271" cy="5688632"/>
          </a:xfrm>
        </p:spPr>
        <p:txBody>
          <a:bodyPr anchor="ctr"/>
          <a:lstStyle>
            <a:lvl1pP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05BA0EE-03BB-47D6-945D-F542C37F946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0000" y="6021288"/>
            <a:ext cx="5688000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7155F1-D89B-4EDA-83B9-54A5402A86B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0FA6C4-951D-41F2-9F14-48377C388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688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527134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79BF95A-2728-4F9F-A594-485652C2252A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7B973AC-8B9B-49A9-B6F3-3DCC6599BBC5}"/>
              </a:ext>
            </a:extLst>
          </p:cNvPr>
          <p:cNvSpPr/>
          <p:nvPr userDrawn="1"/>
        </p:nvSpPr>
        <p:spPr>
          <a:xfrm>
            <a:off x="6635906" y="108000"/>
            <a:ext cx="3270094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07B97D06-A83A-4C97-AE51-1BE9FE3174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412776"/>
            <a:ext cx="5688000" cy="4515723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9D2168-A403-4A6B-AC27-05C1ABB3E4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0000" y="6021288"/>
            <a:ext cx="5688000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5D76375-9309-4703-8B24-52D8A328AE88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F292B91-5279-4701-8390-F6D7369C5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688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7AEEA2D-7899-4B01-BA60-5D3937026B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2821" y="1600610"/>
            <a:ext cx="2376264" cy="3700598"/>
          </a:xfrm>
        </p:spPr>
        <p:txBody>
          <a:bodyPr anchor="ctr"/>
          <a:lstStyle>
            <a:lvl1pPr algn="ctr">
              <a:defRPr sz="18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Pull Quote</a:t>
            </a:r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D94DBE22-C55B-4A83-8F16-4E0C5E4470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094360" y="980728"/>
            <a:ext cx="422362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16">
            <a:extLst>
              <a:ext uri="{FF2B5EF4-FFF2-40B4-BE49-F238E27FC236}">
                <a16:creationId xmlns:a16="http://schemas.microsoft.com/office/drawing/2014/main" id="{28811FC8-352F-450C-BD49-3B10BF87435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 rot="10800000">
            <a:off x="9048262" y="5589240"/>
            <a:ext cx="422362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90419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C6C17F2-A024-482A-8146-FB13A0F35D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278569-4678-4707-B3C6-39D04B171385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ECA6CE3-0B2B-47E2-A990-2900604AB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9BE8BB-6352-4DDC-9AE7-15930DB3384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ane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734F1E-3EF4-4A35-A0AC-4ADCB333F1E5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754946A-845D-4E11-B2AC-BA4276AB5B3F}"/>
              </a:ext>
            </a:extLst>
          </p:cNvPr>
          <p:cNvSpPr/>
          <p:nvPr userDrawn="1"/>
        </p:nvSpPr>
        <p:spPr>
          <a:xfrm>
            <a:off x="-3376" y="109703"/>
            <a:ext cx="3270094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3B4A19-594B-4105-A13B-5393F6AC169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6000" y="548680"/>
            <a:ext cx="2448271" cy="5688632"/>
          </a:xfrm>
        </p:spPr>
        <p:txBody>
          <a:bodyPr anchor="ctr"/>
          <a:lstStyle>
            <a:lvl1pP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2"/>
              </a:buCl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2"/>
              </a:buCl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99AE81-8ADA-4A5B-A578-A7CA64EA8D0A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8A5F398-7EA1-4CCD-9BA8-8B109E6DA5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6000" y="504000"/>
            <a:ext cx="576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8500E6D-56B6-4175-AE41-330BA69379A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36000" y="1412776"/>
            <a:ext cx="5760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71D9E08-32E2-4C38-9B80-D632EA5D51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36000" y="6021288"/>
            <a:ext cx="5760765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570698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ide pane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86829C7-E109-49EF-8DF0-7D53694AF409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752741-EDEF-49C3-BEF9-0A0C57A60CD7}"/>
              </a:ext>
            </a:extLst>
          </p:cNvPr>
          <p:cNvSpPr/>
          <p:nvPr userDrawn="1"/>
        </p:nvSpPr>
        <p:spPr>
          <a:xfrm>
            <a:off x="6635906" y="109703"/>
            <a:ext cx="3270094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C2253F8-BB73-40D8-85C9-DAC2E103260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1232" y="576064"/>
            <a:ext cx="2448271" cy="5688632"/>
          </a:xfrm>
        </p:spPr>
        <p:txBody>
          <a:bodyPr anchor="ctr"/>
          <a:lstStyle>
            <a:lvl1pP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buClr>
                <a:schemeClr val="bg2"/>
              </a:buCl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bg2"/>
              </a:buClr>
              <a:defRPr sz="1600"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3D4EB4-8023-462E-9EA7-466E441A2EE3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CAF87464-2213-4C1E-825B-4DBABB245D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412776"/>
            <a:ext cx="5688000" cy="4515723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6A311A4-D648-4B91-8CAF-BEBEB463917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0000" y="6021288"/>
            <a:ext cx="5688000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BDF6396-23F2-43E1-B299-F72AE69F8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688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478048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734D43B-4BF0-4AAF-9441-2142DA067BBF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5A2B13B-A210-4FC0-9F56-4A439D30D1A8}"/>
              </a:ext>
            </a:extLst>
          </p:cNvPr>
          <p:cNvSpPr/>
          <p:nvPr userDrawn="1"/>
        </p:nvSpPr>
        <p:spPr>
          <a:xfrm>
            <a:off x="-3376" y="109703"/>
            <a:ext cx="3270094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95951480-4BA6-4258-AA9F-B0C90E364F0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3539" y="980728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66BBD5D6-65DE-4B7E-A92F-FC9C6203E41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 rot="10800000">
            <a:off x="2397437" y="558924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DB145FA-3D84-40AB-80F0-F9C97AF71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3539" y="1600610"/>
            <a:ext cx="2376264" cy="3700598"/>
          </a:xfrm>
        </p:spPr>
        <p:txBody>
          <a:bodyPr anchor="ctr"/>
          <a:lstStyle>
            <a:lvl1pPr algn="ctr">
              <a:defRPr sz="18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Pull Quot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623403-CD01-42B8-A1E6-21D0B431269F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10C6AF6-AE2B-4F66-B312-D97102D80A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6000" y="504000"/>
            <a:ext cx="576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455ABC6D-CFC2-4285-B6AF-70C09F37AD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36000" y="1412776"/>
            <a:ext cx="5760000" cy="453650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A55524C-9A30-4A93-A884-9E1376BF1C1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36000" y="6021288"/>
            <a:ext cx="5760765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6892133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FEBB0F-4AB5-4F69-A00E-ECD067A49C6B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9972D23-CDEC-4A62-9389-5455AD1C5619}"/>
              </a:ext>
            </a:extLst>
          </p:cNvPr>
          <p:cNvSpPr/>
          <p:nvPr userDrawn="1"/>
        </p:nvSpPr>
        <p:spPr>
          <a:xfrm>
            <a:off x="6651458" y="109703"/>
            <a:ext cx="3270094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64A2ED-2F21-4A76-B756-B7C1FD67A2FC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3B3F7677-4AB0-4A3A-BB52-83EEB7B227C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098373" y="980728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EC7B4307-EDB7-471A-917B-6F57C73C738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 rot="10800000">
            <a:off x="9052271" y="558924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7D05AC2-EC25-4F83-8BC8-3C0A37430A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8373" y="1600610"/>
            <a:ext cx="2376264" cy="3700598"/>
          </a:xfrm>
        </p:spPr>
        <p:txBody>
          <a:bodyPr anchor="ctr"/>
          <a:lstStyle>
            <a:lvl1pPr algn="ctr">
              <a:defRPr sz="18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Pull Quote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9372AC4C-F45E-4042-ABA5-A32BD941FA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412776"/>
            <a:ext cx="5688000" cy="4515723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2135D39-B470-49FD-971C-DC9C1747ED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0000" y="6021288"/>
            <a:ext cx="5688000" cy="287214"/>
          </a:xfrm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A88AE12-9218-4807-B6C7-9E240C61E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688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9432945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47B84A6-3317-4416-B075-2FC72DD33A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1844077"/>
            <a:ext cx="2628000" cy="360439"/>
          </a:xfrm>
          <a:solidFill>
            <a:schemeClr val="accent5"/>
          </a:solidFill>
          <a:ln w="19050">
            <a:noFill/>
          </a:ln>
        </p:spPr>
        <p:txBody>
          <a:bodyPr lIns="108000" tIns="46800" rIns="108000" anchor="ctr"/>
          <a:lstStyle>
            <a:lvl1pPr algn="ctr">
              <a:defRPr sz="140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HEADING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675343F-CE2B-4D77-8F18-63D9C0D05B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2348879"/>
            <a:ext cx="2628000" cy="3888432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D7B959F-102C-4253-8EA5-39A764B4CB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36000" y="1844424"/>
            <a:ext cx="2628000" cy="360439"/>
          </a:xfrm>
          <a:solidFill>
            <a:schemeClr val="accent5"/>
          </a:solidFill>
          <a:ln w="19050">
            <a:noFill/>
          </a:ln>
        </p:spPr>
        <p:txBody>
          <a:bodyPr lIns="108000" tIns="46800" rIns="108000" anchor="ctr"/>
          <a:lstStyle>
            <a:lvl1pPr algn="ctr">
              <a:defRPr sz="140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HEADING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EF6F60E-A457-4615-BCDE-B9EF337E46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32000" y="1844424"/>
            <a:ext cx="2628000" cy="360439"/>
          </a:xfrm>
          <a:solidFill>
            <a:schemeClr val="accent5"/>
          </a:solidFill>
          <a:ln w="19050">
            <a:noFill/>
          </a:ln>
        </p:spPr>
        <p:txBody>
          <a:bodyPr lIns="108000" tIns="46800" rIns="108000" anchor="ctr"/>
          <a:lstStyle>
            <a:lvl1pPr algn="ctr">
              <a:defRPr sz="140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HEADING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FBF4D82-3797-46B5-A832-9E7A20F188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36000" y="2348879"/>
            <a:ext cx="2628000" cy="3888433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BAF48B5-52C3-43AE-8A93-6EFD639D2DC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732000" y="2348879"/>
            <a:ext cx="2628000" cy="3888432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2C1B621-FA2D-457D-9641-7CC1AA0A0D0C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5B56E15-727D-4579-BEBD-9861DDE1F254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487F636-9DB4-4337-95E7-EF88328525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4C0D795-6974-4E1C-863B-49E738DC84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9715793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no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C1A0B5-056D-4F67-A395-9829BC6AFC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0000" y="1700808"/>
            <a:ext cx="2628000" cy="4536503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DDF48BF-4603-4F76-8A5B-81D9B95749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36000" y="1700809"/>
            <a:ext cx="2628000" cy="4536504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AB6C8ED-5F37-483C-B774-C3C019CE830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732000" y="1700808"/>
            <a:ext cx="2628000" cy="4536503"/>
          </a:xfrm>
        </p:spPr>
        <p:txBody>
          <a:bodyPr lIns="72000" rIns="72000"/>
          <a:lstStyle>
            <a:lvl1pPr>
              <a:spcBef>
                <a:spcPts val="1200"/>
              </a:spcBef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 marL="108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2pPr>
            <a:lvl3pPr marL="25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3pPr>
            <a:lvl4pPr marL="396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4pPr>
            <a:lvl5pPr marL="612000" indent="-10800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077F00B-38E4-4392-97E9-03878506FE1F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172EC9C-30C7-4077-9A0C-62E6458A48A7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76890C5-735C-4498-8949-25B38EC08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53957810-EDCA-43C0-9009-17A6C13894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7629170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FC21E17-0B85-4993-BB2F-6591C4D2D1FB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3F2C4198-1E6C-43B7-83BA-F07702EDA9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548680"/>
            <a:ext cx="2520000" cy="59046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0E75131-E60D-4C7D-AE2F-2ACDEC6BD12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584574" y="1700213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75723E7-D713-444C-8295-CF1A0DA1462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600935" y="1700808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9F6C0B6-EF9E-40EF-9525-CC59C1BBB2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17296" y="1700808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0206A69-EA4A-45DC-B63B-4DA5253E79D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584847" y="3428405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CD26376-D44E-4FBB-9613-01C8CC2476F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601208" y="3429000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D6D622C-08CE-46AC-BF1B-DB78FDD2E94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617569" y="3429000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56329C6-32C2-45F1-AA51-94E5AD724835}"/>
              </a:ext>
            </a:extLst>
          </p:cNvPr>
          <p:cNvCxnSpPr/>
          <p:nvPr userDrawn="1"/>
        </p:nvCxnSpPr>
        <p:spPr>
          <a:xfrm>
            <a:off x="3312000" y="548680"/>
            <a:ext cx="0" cy="5904656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5834DED-3B11-4FB2-A96C-E056D198F484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44055BD-B798-4ED5-B6F8-C3158A2D31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4574" y="504000"/>
            <a:ext cx="5832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3A0F6AB0-9589-499E-831F-C632A35C53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84574" y="1008000"/>
            <a:ext cx="5832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0951633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wo row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351347F-D5CF-465C-BDA8-358F3D132269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8740B27E-4B82-4C53-A36F-3AC6857CD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76000" y="548680"/>
            <a:ext cx="2520000" cy="576064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0CE38A5-62F3-47F0-B0D1-04F74C3384A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700213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E9E0439B-F694-475D-8FE5-BAFAD79F05F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0" y="1700808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6D06944-CBC0-4B03-AF64-3D7808CA0E6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572000" y="1700808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FC3034C-0118-47B7-B968-3A84F05812F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40000" y="3428405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CA0A192-8677-4BFD-A051-21367B485C1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0" y="3429000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D4FEC20C-44FF-4667-B494-0B25F66B2F3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72000" y="3429000"/>
            <a:ext cx="1800473" cy="15128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CE7E19-62C5-42F7-AB5B-75B44A65F2A9}"/>
              </a:ext>
            </a:extLst>
          </p:cNvPr>
          <p:cNvCxnSpPr/>
          <p:nvPr userDrawn="1"/>
        </p:nvCxnSpPr>
        <p:spPr>
          <a:xfrm>
            <a:off x="6624000" y="548680"/>
            <a:ext cx="0" cy="5904656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5127DDFD-64A5-4404-9B4E-FD50D438A97D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3517276-540A-469F-BED7-9320CB3374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832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E644AEA4-98BE-4A03-B0EA-2E08D1927D7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5832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5886101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hree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822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D1555A3-3CFD-4BB1-8721-D0D5BC5BD5F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584848" y="1700213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65FA8A8-33E9-4D6A-A6AA-104180CAB16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585121" y="3322190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DD7611A-A8E1-4485-AFBF-6F16947335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09496" y="1700808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2E053A1-C55D-4CF7-820B-6AA3BFE56BD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09496" y="3322785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B208865-500A-4C68-A57F-62CECE98E46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584801" y="4944167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D73513A-1CDE-4B27-B9A7-7672E962B4B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09176" y="4944762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C99E8FF-1ED4-4052-88E0-DF83D39FA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4574" y="504000"/>
            <a:ext cx="5775426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0BEC931E-4D63-4AEA-A056-3A494D5D9F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84574" y="1008000"/>
            <a:ext cx="5775426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DF531E87-8552-491A-8BC3-CFE8390A2BE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548680"/>
            <a:ext cx="2520000" cy="59046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AE098B-862E-4E53-8E66-F18370C3DCC6}"/>
              </a:ext>
            </a:extLst>
          </p:cNvPr>
          <p:cNvCxnSpPr/>
          <p:nvPr userDrawn="1"/>
        </p:nvCxnSpPr>
        <p:spPr>
          <a:xfrm>
            <a:off x="3312000" y="548680"/>
            <a:ext cx="0" cy="5904656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4047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hree row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45C5705-F480-4392-AF3A-04BCB900268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0000" y="1700213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913F086-14A9-4836-8C45-9B7A2CE10CE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564000" y="1700808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8933B4B-B8ED-48B7-AC07-D534F126B99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40000" y="3322190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1E38C9C-86F0-425B-BD55-4B30DECB2D8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564000" y="3322785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1A43D7-D0E5-4BAA-8BE0-F5BDAA076D8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40000" y="4944167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E9AA6847-8369-48EB-8A4B-DEE1A060F29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564000" y="4944762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F058E1A9-6699-4B09-95C2-CBFCABE76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5832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A859FCC3-8C72-4CDA-BEDA-84E1A02A20D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5832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F360892-A050-4401-9223-E7ABCC05D60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76000" y="548680"/>
            <a:ext cx="2520000" cy="584368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C92BCC-3CB9-4038-9D02-8C23D4F23298}"/>
              </a:ext>
            </a:extLst>
          </p:cNvPr>
          <p:cNvCxnSpPr/>
          <p:nvPr userDrawn="1"/>
        </p:nvCxnSpPr>
        <p:spPr>
          <a:xfrm>
            <a:off x="6624000" y="548680"/>
            <a:ext cx="0" cy="5904656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9226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30768F6-38C3-44F8-A532-7298897BF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3F223CC-BD1B-42AF-8664-F17F51CF2297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41BF8BE-74D5-46A5-88E6-BF7AF5C2B7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C3D7CE-F2BA-4359-836B-F6999F8C8D6A}"/>
              </a:ext>
            </a:extLst>
          </p:cNvPr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5B4B9677-3376-471A-9603-AF37C4464CE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999" y="1620000"/>
            <a:ext cx="8820000" cy="4068000"/>
          </a:xfrm>
        </p:spPr>
        <p:txBody>
          <a:bodyPr/>
          <a:lstStyle>
            <a:lvl1pPr marL="0" marR="0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>
                <a:solidFill>
                  <a:schemeClr val="bg2"/>
                </a:solidFill>
              </a:defRPr>
            </a:lvl1pPr>
            <a:lvl2pPr marL="180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2pPr>
            <a:lvl3pPr marL="504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400">
                <a:solidFill>
                  <a:schemeClr val="bg2"/>
                </a:solidFill>
              </a:defRPr>
            </a:lvl3pPr>
            <a:lvl4pPr marL="828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4pPr>
            <a:lvl5pPr marL="1116000" marR="0" indent="-180000" algn="l" defTabSz="91434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5pPr>
          </a:lstStyle>
          <a:p>
            <a:pPr marL="0" marR="0" lvl="0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Edit Master text styles</a:t>
            </a:r>
          </a:p>
          <a:p>
            <a:pPr marL="0" marR="0" lvl="1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cond level</a:t>
            </a:r>
          </a:p>
          <a:p>
            <a:pPr marL="0" marR="0" lvl="2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hird level</a:t>
            </a:r>
          </a:p>
          <a:p>
            <a:pPr marL="0" marR="0" lvl="3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ourth level</a:t>
            </a:r>
          </a:p>
          <a:p>
            <a:pPr marL="0" marR="0" lvl="4" indent="0" algn="l" defTabSz="91434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64D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fth level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264D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2971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hree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3EE0745-E3F4-4DB4-B2C0-508A7CC21F9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0000" y="1700808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4ABF93B-5791-4D3D-A312-05A39F2E1CE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40000" y="3280404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56E8B38-325D-4716-85B2-F2640FC033D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40000" y="4860000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E390856-F4D7-4D6F-9734-0296AA3831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A411EAE-66AB-407C-BFB9-28C72C1C30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40000" y="1008000"/>
            <a:ext cx="8820000" cy="504056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180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 dirty="0"/>
              <a:t>Sub titl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5DF8B257-80F2-4811-B92B-EE465902478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552000" y="1700808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71799B5-529E-40B0-A89D-A89CAA67949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552000" y="3280404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55B5D034-7DFD-4296-938E-DB6513192E9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552000" y="4860000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EF2FB650-C8E7-4B78-B32B-AF7510A7613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548669" y="1700808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DEBE02C-2104-4D90-91AD-4637EF8AEE1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548669" y="3280404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472106A-6E5F-4720-BBC6-FD97E5339CA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548669" y="4860000"/>
            <a:ext cx="2808000" cy="1440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456630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61E1681-8598-4030-912F-D520B470763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0000" y="1341438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7B73C72-801C-48CC-8FED-542A07BE1DD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112000" y="1340768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3CDDC3B8-4F14-4BFD-AE87-CDE4E2BD16C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864518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BA7894E-1CE5-46EE-8CB0-123F47BF774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2000" y="3863154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B04932C-36D9-490C-BA9D-1C6E581CA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8847676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85CC73A-8174-4D65-AE02-62420A1D0B4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0000" y="1341438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193F1980-CFE0-4D56-8863-A5E91B40CD3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112000" y="1340768"/>
            <a:ext cx="4248596" cy="2374900"/>
          </a:xfrm>
          <a:solidFill>
            <a:schemeClr val="bg2"/>
          </a:solidFill>
        </p:spPr>
        <p:txBody>
          <a:bodyPr lIns="144000" tIns="108000" rIns="144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4A29C15C-F09A-48E5-8E16-EF3918F5B0F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865882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DCF8212-CDF4-4598-ABE1-477659DA73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2000" y="3864518"/>
            <a:ext cx="4248596" cy="2374900"/>
          </a:xfrm>
          <a:solidFill>
            <a:schemeClr val="bg2"/>
          </a:solidFill>
        </p:spPr>
        <p:txBody>
          <a:bodyPr lIns="144000" tIns="108000" rIns="144000" b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B50BA0E-DB5D-441D-8B97-808CD5B26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913014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6AFD68E-0977-4F39-ACC7-F2DDC9BD365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0000" y="1341438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547D84B7-8CEE-4850-BF33-D3C99A1C59D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112000" y="1340768"/>
            <a:ext cx="4248596" cy="2374900"/>
          </a:xfrm>
          <a:solidFill>
            <a:schemeClr val="accent5"/>
          </a:solidFill>
        </p:spPr>
        <p:txBody>
          <a:bodyPr lIns="144000" tIns="108000" rIns="144000" bIns="10800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20745E5B-4831-4C19-8EA2-D20AE7D9D66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3867246"/>
            <a:ext cx="4248596" cy="23749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4770FFF-1AA8-4AB8-B204-B2450673C81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12000" y="3865882"/>
            <a:ext cx="4248596" cy="2374900"/>
          </a:xfrm>
          <a:solidFill>
            <a:schemeClr val="accent5"/>
          </a:solidFill>
        </p:spPr>
        <p:txBody>
          <a:bodyPr lIns="144000" tIns="108000" rIns="144000" bIns="10800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136AFA1-F5A3-49DE-AA9F-9051DFEAE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504056"/>
          </a:xfrm>
        </p:spPr>
        <p:txBody>
          <a:bodyPr anchor="ctr" anchorCtr="0"/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80399775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1424608" y="3430741"/>
            <a:ext cx="70567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is the largest Australian-founded management consulting</a:t>
            </a:r>
            <a:b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irm with over 400 staff across Australia and the UK.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2780" y="1122417"/>
            <a:ext cx="3960440" cy="1082447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1867694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4157430" y="2961572"/>
            <a:ext cx="15911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800" noProof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02630"/>
            <a:ext cx="9906001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" name="Rectangle 14"/>
          <p:cNvSpPr/>
          <p:nvPr userDrawn="1"/>
        </p:nvSpPr>
        <p:spPr>
          <a:xfrm>
            <a:off x="504000" y="4947717"/>
            <a:ext cx="2645008" cy="95410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We partner with leaders to shape world-class businesses, effective government</a:t>
            </a:r>
            <a:r>
              <a:rPr lang="en-AU" sz="1400" baseline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 </a:t>
            </a:r>
            <a:r>
              <a:rPr lang="en-AU" sz="1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and empowered communities. 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036007" y="5662901"/>
            <a:ext cx="186771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PEOPL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718402" y="5662901"/>
            <a:ext cx="16747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PRINCIPALS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7695811" y="5661247"/>
            <a:ext cx="200848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COUNTRIES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6278498" y="5662901"/>
            <a:ext cx="16747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LOCATIONS</a:t>
            </a: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643454" y="4956969"/>
            <a:ext cx="652819" cy="655335"/>
            <a:chOff x="878775" y="1415376"/>
            <a:chExt cx="823912" cy="827088"/>
          </a:xfrm>
        </p:grpSpPr>
        <p:sp>
          <p:nvSpPr>
            <p:cNvPr id="33" name="Oval 32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72000" tIns="0" rIns="72000" bIns="0"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+mn-lt"/>
                </a:rPr>
                <a:t>400</a:t>
              </a:r>
            </a:p>
          </p:txBody>
        </p:sp>
        <p:sp>
          <p:nvSpPr>
            <p:cNvPr id="34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latin typeface="+mn-lt"/>
              </a:endParaRPr>
            </a:p>
          </p:txBody>
        </p:sp>
      </p:grp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5229372" y="4941168"/>
            <a:ext cx="652819" cy="655335"/>
            <a:chOff x="878775" y="1415376"/>
            <a:chExt cx="823912" cy="827088"/>
          </a:xfrm>
        </p:grpSpPr>
        <p:sp>
          <p:nvSpPr>
            <p:cNvPr id="36" name="Oval 35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+mn-lt"/>
                </a:rPr>
                <a:t>50</a:t>
              </a:r>
            </a:p>
          </p:txBody>
        </p:sp>
        <p:sp>
          <p:nvSpPr>
            <p:cNvPr id="37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latin typeface="+mn-lt"/>
              </a:endParaRPr>
            </a:p>
          </p:txBody>
        </p:sp>
      </p:grpSp>
      <p:grpSp>
        <p:nvGrpSpPr>
          <p:cNvPr id="38" name="Group 37"/>
          <p:cNvGrpSpPr>
            <a:grpSpLocks noChangeAspect="1"/>
          </p:cNvGrpSpPr>
          <p:nvPr userDrawn="1"/>
        </p:nvGrpSpPr>
        <p:grpSpPr>
          <a:xfrm>
            <a:off x="6789468" y="4944417"/>
            <a:ext cx="652819" cy="655335"/>
            <a:chOff x="878775" y="1415376"/>
            <a:chExt cx="823912" cy="827088"/>
          </a:xfrm>
        </p:grpSpPr>
        <p:sp>
          <p:nvSpPr>
            <p:cNvPr id="39" name="Oval 38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+mn-lt"/>
                </a:rPr>
                <a:t>8</a:t>
              </a:r>
            </a:p>
          </p:txBody>
        </p:sp>
        <p:sp>
          <p:nvSpPr>
            <p:cNvPr id="40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latin typeface="+mn-lt"/>
              </a:endParaRPr>
            </a:p>
          </p:txBody>
        </p:sp>
      </p:grpSp>
      <p:grpSp>
        <p:nvGrpSpPr>
          <p:cNvPr id="41" name="Group 40"/>
          <p:cNvGrpSpPr>
            <a:grpSpLocks noChangeAspect="1"/>
          </p:cNvGrpSpPr>
          <p:nvPr userDrawn="1"/>
        </p:nvGrpSpPr>
        <p:grpSpPr>
          <a:xfrm>
            <a:off x="8373643" y="4944417"/>
            <a:ext cx="652819" cy="655335"/>
            <a:chOff x="878775" y="1415376"/>
            <a:chExt cx="823912" cy="827088"/>
          </a:xfrm>
        </p:grpSpPr>
        <p:sp>
          <p:nvSpPr>
            <p:cNvPr id="42" name="Oval 41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  <p:sp>
          <p:nvSpPr>
            <p:cNvPr id="43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4642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1424608" y="3430741"/>
            <a:ext cx="70567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is the largest Australian-founded management consulting</a:t>
            </a:r>
            <a:b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6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irm with over 400 staff across Australia and the UK. 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2780" y="1122417"/>
            <a:ext cx="3960440" cy="1082447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1867694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4157430" y="2961572"/>
            <a:ext cx="15911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1800" noProof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02630"/>
            <a:ext cx="9906001" cy="16442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chemeClr val="bg2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504000" y="4947717"/>
            <a:ext cx="2645008" cy="95410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AU" sz="1400" dirty="0">
                <a:solidFill>
                  <a:schemeClr val="bg2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We partner with leaders to shape world-class businesses, effective government</a:t>
            </a:r>
            <a:r>
              <a:rPr lang="en-AU" sz="1400" baseline="0" dirty="0">
                <a:solidFill>
                  <a:schemeClr val="bg2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 </a:t>
            </a:r>
            <a:r>
              <a:rPr lang="en-AU" sz="1400" dirty="0">
                <a:solidFill>
                  <a:schemeClr val="bg2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and empowered communities. 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036007" y="5662901"/>
            <a:ext cx="186771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2"/>
                </a:solidFill>
                <a:latin typeface="Selawik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EOPL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718402" y="5662901"/>
            <a:ext cx="16747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2"/>
                </a:solidFill>
                <a:latin typeface="Selawik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INCIPALS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7695811" y="5661247"/>
            <a:ext cx="200848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2"/>
                </a:solidFill>
                <a:latin typeface="Selawik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UNTRIES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6278498" y="5662901"/>
            <a:ext cx="16747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AU" sz="1200" b="0" dirty="0">
                <a:solidFill>
                  <a:schemeClr val="bg2"/>
                </a:solidFill>
                <a:latin typeface="Selawik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CATIONS</a:t>
            </a: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643454" y="4956969"/>
            <a:ext cx="652819" cy="655335"/>
            <a:chOff x="878775" y="1415376"/>
            <a:chExt cx="823912" cy="827088"/>
          </a:xfrm>
        </p:grpSpPr>
        <p:sp>
          <p:nvSpPr>
            <p:cNvPr id="33" name="Oval 32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lIns="72000" tIns="0" rIns="72000" bIns="0" rtlCol="0" anchor="ctr"/>
            <a:lstStyle/>
            <a:p>
              <a:pPr algn="ctr"/>
              <a:r>
                <a:rPr lang="en-AU" sz="1400" b="1" dirty="0">
                  <a:solidFill>
                    <a:schemeClr val="bg2"/>
                  </a:solidFill>
                  <a:latin typeface="+mn-lt"/>
                </a:rPr>
                <a:t>400</a:t>
              </a:r>
            </a:p>
          </p:txBody>
        </p:sp>
        <p:sp>
          <p:nvSpPr>
            <p:cNvPr id="34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solidFill>
                  <a:schemeClr val="bg2"/>
                </a:solidFill>
                <a:latin typeface="+mn-lt"/>
              </a:endParaRPr>
            </a:p>
          </p:txBody>
        </p:sp>
      </p:grp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5229372" y="4941168"/>
            <a:ext cx="652819" cy="655335"/>
            <a:chOff x="878775" y="1415376"/>
            <a:chExt cx="823912" cy="827088"/>
          </a:xfrm>
        </p:grpSpPr>
        <p:sp>
          <p:nvSpPr>
            <p:cNvPr id="36" name="Oval 35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2"/>
                  </a:solidFill>
                  <a:latin typeface="+mn-lt"/>
                </a:rPr>
                <a:t>50</a:t>
              </a:r>
            </a:p>
          </p:txBody>
        </p:sp>
        <p:sp>
          <p:nvSpPr>
            <p:cNvPr id="37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solidFill>
                  <a:schemeClr val="bg2"/>
                </a:solidFill>
                <a:latin typeface="+mn-lt"/>
              </a:endParaRPr>
            </a:p>
          </p:txBody>
        </p:sp>
      </p:grpSp>
      <p:grpSp>
        <p:nvGrpSpPr>
          <p:cNvPr id="38" name="Group 37"/>
          <p:cNvGrpSpPr>
            <a:grpSpLocks noChangeAspect="1"/>
          </p:cNvGrpSpPr>
          <p:nvPr userDrawn="1"/>
        </p:nvGrpSpPr>
        <p:grpSpPr>
          <a:xfrm>
            <a:off x="6789468" y="4944417"/>
            <a:ext cx="652819" cy="655335"/>
            <a:chOff x="878775" y="1415376"/>
            <a:chExt cx="823912" cy="827088"/>
          </a:xfrm>
        </p:grpSpPr>
        <p:sp>
          <p:nvSpPr>
            <p:cNvPr id="39" name="Oval 38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2"/>
                  </a:solidFill>
                  <a:latin typeface="+mn-lt"/>
                </a:rPr>
                <a:t>8</a:t>
              </a:r>
            </a:p>
          </p:txBody>
        </p:sp>
        <p:sp>
          <p:nvSpPr>
            <p:cNvPr id="40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solidFill>
                  <a:schemeClr val="bg2"/>
                </a:solidFill>
                <a:latin typeface="+mn-lt"/>
              </a:endParaRPr>
            </a:p>
          </p:txBody>
        </p:sp>
      </p:grpSp>
      <p:grpSp>
        <p:nvGrpSpPr>
          <p:cNvPr id="41" name="Group 40"/>
          <p:cNvGrpSpPr>
            <a:grpSpLocks noChangeAspect="1"/>
          </p:cNvGrpSpPr>
          <p:nvPr userDrawn="1"/>
        </p:nvGrpSpPr>
        <p:grpSpPr>
          <a:xfrm>
            <a:off x="8373643" y="4944417"/>
            <a:ext cx="652819" cy="655335"/>
            <a:chOff x="878775" y="1415376"/>
            <a:chExt cx="823912" cy="827088"/>
          </a:xfrm>
        </p:grpSpPr>
        <p:sp>
          <p:nvSpPr>
            <p:cNvPr id="42" name="Oval 41"/>
            <p:cNvSpPr/>
            <p:nvPr/>
          </p:nvSpPr>
          <p:spPr>
            <a:xfrm>
              <a:off x="878775" y="1466420"/>
              <a:ext cx="797502" cy="72500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tIns="0" bIns="0" rtlCol="0" anchor="ctr"/>
            <a:lstStyle/>
            <a:p>
              <a:pPr algn="ctr"/>
              <a:r>
                <a:rPr lang="en-AU" sz="1400" b="1" dirty="0">
                  <a:solidFill>
                    <a:schemeClr val="bg2"/>
                  </a:solidFill>
                  <a:latin typeface="+mn-lt"/>
                </a:rPr>
                <a:t>2</a:t>
              </a:r>
            </a:p>
          </p:txBody>
        </p:sp>
        <p:sp>
          <p:nvSpPr>
            <p:cNvPr id="43" name="Freeform 70"/>
            <p:cNvSpPr>
              <a:spLocks noEditPoints="1"/>
            </p:cNvSpPr>
            <p:nvPr/>
          </p:nvSpPr>
          <p:spPr bwMode="auto">
            <a:xfrm>
              <a:off x="878775" y="1415376"/>
              <a:ext cx="823912" cy="827088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none" lIns="91440" tIns="4572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AU" sz="1400" b="1">
                <a:solidFill>
                  <a:schemeClr val="bg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65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_no sub_content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800" b="0" i="0" baseline="0" dirty="0">
              <a:latin typeface="Segoe UI Semibold"/>
              <a:ea typeface="+mj-ea"/>
              <a:cs typeface="+mj-cs"/>
              <a:sym typeface="Segoe UI Semibold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pic>
        <p:nvPicPr>
          <p:cNvPr id="21" name="Picture 20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02E6A79-0037-44DD-8651-CBF292ED854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035175"/>
            <a:ext cx="8820000" cy="36528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AC0F1C-4096-437F-8942-DC5A70BD19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7183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page content_no sub_content head_un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800" b="0" i="0" baseline="0" dirty="0">
              <a:latin typeface="Segoe UI Semibold"/>
              <a:ea typeface="+mj-ea"/>
              <a:cs typeface="+mj-cs"/>
              <a:sym typeface="Segoe UI Semibold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504000"/>
            <a:ext cx="8820000" cy="480117"/>
          </a:xfrm>
        </p:spPr>
        <p:txBody>
          <a:bodyPr anchor="ctr" anchorCtr="0">
            <a:spAutoFit/>
          </a:bodyPr>
          <a:lstStyle>
            <a:lvl1pPr marL="0" marR="0" indent="0" algn="l" defTabSz="914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lvl="0"/>
            <a:r>
              <a:rPr lang="en-AU" noProof="0" dirty="0"/>
              <a:t>Governing thought</a:t>
            </a:r>
          </a:p>
        </p:txBody>
      </p:sp>
      <p:pic>
        <p:nvPicPr>
          <p:cNvPr id="21" name="Picture 20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5339" cy="10970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999" y="5918390"/>
            <a:ext cx="8820000" cy="276985"/>
          </a:xfrm>
        </p:spPr>
        <p:txBody>
          <a:bodyPr anchor="ctr">
            <a:spAutoFit/>
          </a:bodyPr>
          <a:lstStyle>
            <a:lvl1pPr>
              <a:defRPr sz="12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841432" y="639236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E8856DA-B77A-4A94-8E84-45BF77D9376B}" type="slidenum">
              <a:rPr lang="en-AU" sz="12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200" noProof="0" dirty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02E6A79-0037-44DD-8651-CBF292ED854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2368731"/>
            <a:ext cx="8820000" cy="33192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Tx/>
              <a:defRPr>
                <a:solidFill>
                  <a:schemeClr val="bg2"/>
                </a:solidFill>
              </a:defRPr>
            </a:lvl2pPr>
            <a:lvl3pPr>
              <a:buClrTx/>
              <a:defRPr>
                <a:solidFill>
                  <a:schemeClr val="bg2"/>
                </a:solidFill>
              </a:defRPr>
            </a:lvl3pPr>
            <a:lvl4pPr>
              <a:buClrTx/>
              <a:defRPr>
                <a:solidFill>
                  <a:schemeClr val="bg2"/>
                </a:solidFill>
              </a:defRPr>
            </a:lvl4pPr>
            <a:lvl5pPr>
              <a:buClrTx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AC0F1C-4096-437F-8942-DC5A70BD19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38" y="1628775"/>
            <a:ext cx="8824912" cy="246221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6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ontent heading</a:t>
            </a:r>
            <a:endParaRPr lang="en-AU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04E09A2-5A41-46AE-B74F-78B620C6A1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703" y="1971491"/>
            <a:ext cx="8824912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AU" sz="14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Unit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86364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10786040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"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214" y="693330"/>
            <a:ext cx="8824912" cy="871200"/>
          </a:xfrm>
          <a:prstGeom prst="rect">
            <a:avLst/>
          </a:prstGeom>
        </p:spPr>
        <p:txBody>
          <a:bodyPr vert="horz" lIns="0" tIns="45713" rIns="0" bIns="45713" rtlCol="0" anchor="ctr" anchorCtr="0">
            <a:noAutofit/>
          </a:bodyPr>
          <a:lstStyle/>
          <a:p>
            <a:r>
              <a:rPr lang="en-AU" noProof="0" dirty="0"/>
              <a:t>Governing though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40000" y="1845192"/>
            <a:ext cx="8823600" cy="4030009"/>
          </a:xfrm>
          <a:prstGeom prst="rect">
            <a:avLst/>
          </a:prstGeom>
        </p:spPr>
        <p:txBody>
          <a:bodyPr vert="horz" lIns="0" tIns="45713" rIns="0" bIns="45713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59" r:id="rId2"/>
    <p:sldLayoutId id="2147483730" r:id="rId3"/>
    <p:sldLayoutId id="2147483731" r:id="rId4"/>
    <p:sldLayoutId id="2147483732" r:id="rId5"/>
    <p:sldLayoutId id="2147483682" r:id="rId6"/>
    <p:sldLayoutId id="2147483786" r:id="rId7"/>
    <p:sldLayoutId id="2147483787" r:id="rId8"/>
    <p:sldLayoutId id="2147483788" r:id="rId9"/>
    <p:sldLayoutId id="2147483784" r:id="rId10"/>
    <p:sldLayoutId id="2147483789" r:id="rId11"/>
    <p:sldLayoutId id="2147483790" r:id="rId12"/>
    <p:sldLayoutId id="2147483785" r:id="rId13"/>
    <p:sldLayoutId id="2147483791" r:id="rId14"/>
    <p:sldLayoutId id="2147483792" r:id="rId15"/>
    <p:sldLayoutId id="2147483733" r:id="rId16"/>
    <p:sldLayoutId id="2147483729" r:id="rId17"/>
    <p:sldLayoutId id="2147483726" r:id="rId18"/>
    <p:sldLayoutId id="2147483727" r:id="rId19"/>
    <p:sldLayoutId id="2147483728" r:id="rId20"/>
    <p:sldLayoutId id="2147483763" r:id="rId21"/>
    <p:sldLayoutId id="2147483764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62" r:id="rId29"/>
    <p:sldLayoutId id="2147483723" r:id="rId30"/>
    <p:sldLayoutId id="2147483720" r:id="rId31"/>
    <p:sldLayoutId id="2147483770" r:id="rId32"/>
    <p:sldLayoutId id="2147483771" r:id="rId33"/>
    <p:sldLayoutId id="2147483777" r:id="rId34"/>
    <p:sldLayoutId id="2147483721" r:id="rId35"/>
    <p:sldLayoutId id="2147483746" r:id="rId36"/>
    <p:sldLayoutId id="2147483745" r:id="rId37"/>
    <p:sldLayoutId id="2147483747" r:id="rId38"/>
    <p:sldLayoutId id="2147483744" r:id="rId39"/>
    <p:sldLayoutId id="2147483748" r:id="rId40"/>
    <p:sldLayoutId id="2147483749" r:id="rId41"/>
    <p:sldLayoutId id="2147483716" r:id="rId42"/>
    <p:sldLayoutId id="2147483768" r:id="rId43"/>
    <p:sldLayoutId id="2147483690" r:id="rId44"/>
    <p:sldLayoutId id="2147483706" r:id="rId45"/>
    <p:sldLayoutId id="2147483673" r:id="rId46"/>
    <p:sldLayoutId id="2147483724" r:id="rId47"/>
    <p:sldLayoutId id="2147483783" r:id="rId48"/>
    <p:sldLayoutId id="2147483765" r:id="rId49"/>
    <p:sldLayoutId id="2147483766" r:id="rId50"/>
    <p:sldLayoutId id="2147483767" r:id="rId51"/>
    <p:sldLayoutId id="2147483778" r:id="rId52"/>
    <p:sldLayoutId id="2147483780" r:id="rId53"/>
    <p:sldLayoutId id="2147483779" r:id="rId54"/>
    <p:sldLayoutId id="2147483781" r:id="rId55"/>
    <p:sldLayoutId id="2147483750" r:id="rId56"/>
    <p:sldLayoutId id="2147483755" r:id="rId57"/>
    <p:sldLayoutId id="2147483753" r:id="rId58"/>
    <p:sldLayoutId id="2147483756" r:id="rId59"/>
    <p:sldLayoutId id="2147483751" r:id="rId60"/>
    <p:sldLayoutId id="2147483754" r:id="rId61"/>
    <p:sldLayoutId id="2147483757" r:id="rId62"/>
    <p:sldLayoutId id="2147483758" r:id="rId63"/>
    <p:sldLayoutId id="2147483718" r:id="rId64"/>
    <p:sldLayoutId id="2147483769" r:id="rId65"/>
    <p:sldLayoutId id="2147483772" r:id="rId66"/>
    <p:sldLayoutId id="2147483776" r:id="rId67"/>
    <p:sldLayoutId id="2147483773" r:id="rId68"/>
    <p:sldLayoutId id="2147483775" r:id="rId69"/>
    <p:sldLayoutId id="2147483774" r:id="rId70"/>
    <p:sldLayoutId id="2147483734" r:id="rId71"/>
    <p:sldLayoutId id="2147483735" r:id="rId72"/>
    <p:sldLayoutId id="2147483736" r:id="rId73"/>
    <p:sldLayoutId id="2147483752" r:id="rId74"/>
    <p:sldLayoutId id="2147483782" r:id="rId75"/>
  </p:sldLayoutIdLst>
  <p:hf hdr="0" ftr="0" dt="0"/>
  <p:txStyles>
    <p:titleStyle>
      <a:lvl1pPr algn="l" defTabSz="914349" rtl="0" eaLnBrk="1" latinLnBrk="0" hangingPunct="1">
        <a:lnSpc>
          <a:spcPct val="80000"/>
        </a:lnSpc>
        <a:spcBef>
          <a:spcPct val="0"/>
        </a:spcBef>
        <a:buNone/>
        <a:defRPr sz="28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914349" rtl="0" eaLnBrk="1" latinLnBrk="0" hangingPunct="1">
        <a:spcBef>
          <a:spcPts val="1200"/>
        </a:spcBef>
        <a:buFont typeface="Arial" pitchFamily="34" charset="0"/>
        <a:buNone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180000" indent="-180000" algn="l" defTabSz="914349" rtl="0" eaLnBrk="1" latinLnBrk="0" hangingPunct="1">
        <a:spcBef>
          <a:spcPts val="400"/>
        </a:spcBef>
        <a:buClr>
          <a:schemeClr val="bg2"/>
        </a:buClr>
        <a:buFont typeface="Arial" pitchFamily="34" charset="0"/>
        <a:buChar char="•"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504000" indent="-180000" algn="l" defTabSz="914349" rtl="0" eaLnBrk="1" latinLnBrk="0" hangingPunct="1">
        <a:spcBef>
          <a:spcPts val="400"/>
        </a:spcBef>
        <a:buClr>
          <a:schemeClr val="bg2"/>
        </a:buClr>
        <a:buFont typeface="Arial" pitchFamily="34" charset="0"/>
        <a:buChar char="•"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828000" indent="-180000" algn="l" defTabSz="914349" rtl="0" eaLnBrk="1" latinLnBrk="0" hangingPunct="1">
        <a:spcBef>
          <a:spcPts val="400"/>
        </a:spcBef>
        <a:buClr>
          <a:schemeClr val="bg2"/>
        </a:buClr>
        <a:buFont typeface="Arial" pitchFamily="34" charset="0"/>
        <a:buChar char="•"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16000" indent="-180000" algn="l" defTabSz="914349" rtl="0" eaLnBrk="1" latinLnBrk="0" hangingPunct="1">
        <a:spcBef>
          <a:spcPts val="400"/>
        </a:spcBef>
        <a:buClr>
          <a:schemeClr val="bg2"/>
        </a:buClr>
        <a:buFont typeface="Arial" pitchFamily="34" charset="0"/>
        <a:buChar char="•"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539970" indent="-269985" algn="l" defTabSz="914349" rtl="0" eaLnBrk="1" latinLnBrk="0" hangingPunct="1">
        <a:spcBef>
          <a:spcPts val="400"/>
        </a:spcBef>
        <a:buClr>
          <a:schemeClr val="bg2"/>
        </a:buClr>
        <a:buFont typeface="+mj-lt"/>
        <a:buAutoNum type="arabicPeriod"/>
        <a:defRPr sz="14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809955" indent="-269985" algn="l" defTabSz="914349" rtl="0" eaLnBrk="1" latinLnBrk="0" hangingPunct="1">
        <a:spcBef>
          <a:spcPts val="400"/>
        </a:spcBef>
        <a:buClr>
          <a:schemeClr val="bg2"/>
        </a:buClr>
        <a:buFont typeface="+mj-lt"/>
        <a:buAutoNum type="alphaLcPeriod"/>
        <a:defRPr sz="14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079940" indent="-269985" algn="l" defTabSz="914349" rtl="0" eaLnBrk="1" latinLnBrk="0" hangingPunct="1">
        <a:spcBef>
          <a:spcPts val="400"/>
        </a:spcBef>
        <a:buClr>
          <a:schemeClr val="bg2"/>
        </a:buClr>
        <a:buFont typeface="+mj-lt"/>
        <a:buAutoNum type="romanLcPeriod"/>
        <a:defRPr sz="14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3885982" indent="-228587" algn="l" defTabSz="91434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9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3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7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6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5" algn="l" defTabSz="9143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hyperlink" Target="https://chrome.google.com/webstore/detail/selectorgadget/mhjhnkcfbdhnjickkkdbjoemdmbfginb?hl=en" TargetMode="Externa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3A44E6-5AEE-45A6-96B1-F42B3B8031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51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274" imgH="273" progId="TCLayout.ActiveDocument.1">
                  <p:embed/>
                </p:oleObj>
              </mc:Choice>
              <mc:Fallback>
                <p:oleObj name="think-cell Slide" r:id="rId5" imgW="274" imgH="2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DA7E61F-5F70-4DD4-A722-7F10B80444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800" dirty="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63AA91-2C61-41F4-A2B6-9A5BC2691613}"/>
              </a:ext>
            </a:extLst>
          </p:cNvPr>
          <p:cNvSpPr/>
          <p:nvPr/>
        </p:nvSpPr>
        <p:spPr>
          <a:xfrm>
            <a:off x="0" y="116632"/>
            <a:ext cx="9906000" cy="6741368"/>
          </a:xfrm>
          <a:prstGeom prst="rect">
            <a:avLst/>
          </a:prstGeom>
          <a:solidFill>
            <a:srgbClr val="00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571BD-0155-4835-8BD0-D67CF565C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04000"/>
            <a:ext cx="8820000" cy="480117"/>
          </a:xfrm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</a:rPr>
              <a:t>There are two easy types of web scraping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4F4F06-4D40-449C-8725-C7BBD35C49EA}"/>
              </a:ext>
            </a:extLst>
          </p:cNvPr>
          <p:cNvSpPr/>
          <p:nvPr/>
        </p:nvSpPr>
        <p:spPr>
          <a:xfrm>
            <a:off x="540000" y="4869160"/>
            <a:ext cx="8640960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200" i="1" dirty="0">
                <a:solidFill>
                  <a:schemeClr val="bg1"/>
                </a:solidFill>
              </a:rPr>
              <a:t>More complex web scraping may require other packages or different tools (e.g. Python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C6D1AB-EAD8-465B-BCF8-D9935F630DAD}"/>
              </a:ext>
            </a:extLst>
          </p:cNvPr>
          <p:cNvSpPr/>
          <p:nvPr/>
        </p:nvSpPr>
        <p:spPr>
          <a:xfrm>
            <a:off x="540000" y="1947722"/>
            <a:ext cx="8640960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i="1" dirty="0">
                <a:solidFill>
                  <a:schemeClr val="bg1"/>
                </a:solidFill>
              </a:rPr>
              <a:t>By table</a:t>
            </a:r>
          </a:p>
          <a:p>
            <a:endParaRPr lang="en-AU" sz="2400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2400" i="1" dirty="0">
                <a:solidFill>
                  <a:schemeClr val="bg1"/>
                </a:solidFill>
              </a:rPr>
              <a:t>Free 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i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i="1" dirty="0">
              <a:solidFill>
                <a:schemeClr val="bg1"/>
              </a:solidFill>
            </a:endParaRPr>
          </a:p>
          <a:p>
            <a:r>
              <a:rPr lang="en-AU" i="1" dirty="0">
                <a:solidFill>
                  <a:schemeClr val="bg1"/>
                </a:solidFill>
              </a:rPr>
              <a:t>Two tools are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i="1" dirty="0">
                <a:solidFill>
                  <a:schemeClr val="bg1"/>
                </a:solidFill>
              </a:rPr>
              <a:t>The </a:t>
            </a:r>
            <a:r>
              <a:rPr lang="en-AU" i="1" dirty="0" err="1">
                <a:solidFill>
                  <a:schemeClr val="bg1"/>
                </a:solidFill>
              </a:rPr>
              <a:t>rvest</a:t>
            </a:r>
            <a:r>
              <a:rPr lang="en-AU" i="1" dirty="0">
                <a:solidFill>
                  <a:schemeClr val="bg1"/>
                </a:solidFill>
              </a:rPr>
              <a:t> R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i="1" dirty="0">
                <a:solidFill>
                  <a:schemeClr val="bg1"/>
                </a:solidFill>
              </a:rPr>
              <a:t>A CSS selector tool (e.g. </a:t>
            </a:r>
            <a:r>
              <a:rPr lang="en-AU" i="1" dirty="0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lectorGadget</a:t>
            </a:r>
            <a:r>
              <a:rPr lang="en-AU" i="1" dirty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846078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8AA61B-5BD2-4EE3-84F3-16622F1E60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73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5" imgW="274" imgH="273" progId="TCLayout.ActiveDocument.1">
                  <p:embed/>
                </p:oleObj>
              </mc:Choice>
              <mc:Fallback>
                <p:oleObj name="think-cell Slide" r:id="rId5" imgW="274" imgH="2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E7E8C0D-44EB-4880-867D-92F1E982EC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800" dirty="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8D2970F-80E1-402D-BAA9-8658796AE525}"/>
              </a:ext>
            </a:extLst>
          </p:cNvPr>
          <p:cNvSpPr/>
          <p:nvPr/>
        </p:nvSpPr>
        <p:spPr>
          <a:xfrm>
            <a:off x="0" y="116632"/>
            <a:ext cx="9906000" cy="6741368"/>
          </a:xfrm>
          <a:prstGeom prst="rect">
            <a:avLst/>
          </a:prstGeom>
          <a:solidFill>
            <a:srgbClr val="00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DEBC48-D887-4381-939F-FB8615283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chemeClr val="bg1"/>
                </a:solidFill>
              </a:rPr>
              <a:t>Web scraping a ta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89F8EE-EA8A-48BC-B416-CD00E0CCF11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240"/>
          <a:stretch/>
        </p:blipFill>
        <p:spPr>
          <a:xfrm>
            <a:off x="548768" y="1772816"/>
            <a:ext cx="8802463" cy="304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306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BB1FD1-A511-40EC-A2CA-F07FE1E0E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393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5" imgW="274" imgH="273" progId="TCLayout.ActiveDocument.1">
                  <p:embed/>
                </p:oleObj>
              </mc:Choice>
              <mc:Fallback>
                <p:oleObj name="think-cell Slide" r:id="rId5" imgW="274" imgH="2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CA1BF01-7E61-4EA3-B20F-342CA8EEB5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800" dirty="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E5CF8C-CCD3-4EE3-B851-AE1012BB4CB6}"/>
              </a:ext>
            </a:extLst>
          </p:cNvPr>
          <p:cNvSpPr/>
          <p:nvPr/>
        </p:nvSpPr>
        <p:spPr>
          <a:xfrm>
            <a:off x="0" y="116632"/>
            <a:ext cx="9906000" cy="6741368"/>
          </a:xfrm>
          <a:prstGeom prst="rect">
            <a:avLst/>
          </a:prstGeom>
          <a:solidFill>
            <a:srgbClr val="00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73DB5-2DAB-404D-A84F-35CAB9C95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chemeClr val="bg1"/>
                </a:solidFill>
              </a:rPr>
              <a:t>Web scraping free text</a:t>
            </a:r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B08363-F07C-4E70-B1AD-9623E97E0A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4952"/>
          <a:stretch/>
        </p:blipFill>
        <p:spPr>
          <a:xfrm>
            <a:off x="632520" y="1484783"/>
            <a:ext cx="9257170" cy="377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34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blcHQfSemHgPsbWAhZ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vBwGSxSdi6RS8U8a.p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Kxxf4Q0in47GYsBWy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_Bdv41RPCT0KnTB.BZ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_Bdv41RPCT0KnTB.BZbw"/>
</p:tagLst>
</file>

<file path=ppt/theme/theme1.xml><?xml version="1.0" encoding="utf-8"?>
<a:theme xmlns:a="http://schemas.openxmlformats.org/drawingml/2006/main" name="Default Them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1BF2D"/>
      </a:accent4>
      <a:accent5>
        <a:srgbClr val="E6E6E1"/>
      </a:accent5>
      <a:accent6>
        <a:srgbClr val="25B3E0"/>
      </a:accent6>
      <a:hlink>
        <a:srgbClr val="000000"/>
      </a:hlink>
      <a:folHlink>
        <a:srgbClr val="2E368F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" id="{F379F204-2156-4288-93EE-5248651F888F}" vid="{A240B28F-1E95-4859-AC6F-8D1E7FCA28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</TotalTime>
  <Words>58</Words>
  <Application>Microsoft Office PowerPoint</Application>
  <PresentationFormat>A4 Paper (210x297 mm)</PresentationFormat>
  <Paragraphs>1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Segoe UI</vt:lpstr>
      <vt:lpstr>Segoe UI Semibold</vt:lpstr>
      <vt:lpstr>Segoe UI Semilight</vt:lpstr>
      <vt:lpstr>Selawik Semibold</vt:lpstr>
      <vt:lpstr>Default Theme</vt:lpstr>
      <vt:lpstr>think-cell Slide</vt:lpstr>
      <vt:lpstr>There are two easy types of web scraping…</vt:lpstr>
      <vt:lpstr>Web scraping a table</vt:lpstr>
      <vt:lpstr>Web scraping free text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ny Shen</dc:creator>
  <cp:lastModifiedBy>Jenny Shen</cp:lastModifiedBy>
  <cp:revision>2</cp:revision>
  <cp:lastPrinted>2017-07-26T07:33:06Z</cp:lastPrinted>
  <dcterms:created xsi:type="dcterms:W3CDTF">2019-07-01T04:49:22Z</dcterms:created>
  <dcterms:modified xsi:type="dcterms:W3CDTF">2019-07-01T05:18:19Z</dcterms:modified>
</cp:coreProperties>
</file>